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mv" ContentType="video/x-ms-wm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  <p:sldMasterId id="2147483704" r:id="rId3"/>
  </p:sldMasterIdLst>
  <p:notesMasterIdLst>
    <p:notesMasterId r:id="rId14"/>
  </p:notesMasterIdLst>
  <p:sldIdLst>
    <p:sldId id="611" r:id="rId4"/>
    <p:sldId id="713" r:id="rId5"/>
    <p:sldId id="690" r:id="rId6"/>
    <p:sldId id="697" r:id="rId7"/>
    <p:sldId id="715" r:id="rId8"/>
    <p:sldId id="691" r:id="rId9"/>
    <p:sldId id="716" r:id="rId10"/>
    <p:sldId id="717" r:id="rId11"/>
    <p:sldId id="667" r:id="rId12"/>
    <p:sldId id="672" r:id="rId13"/>
  </p:sldIdLst>
  <p:sldSz cx="9906000" cy="6858000" type="A4"/>
  <p:notesSz cx="6858000" cy="9144000"/>
  <p:defaultTextStyle>
    <a:defPPr>
      <a:defRPr lang="ko-KR"/>
    </a:defPPr>
    <a:lvl1pPr marL="0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68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28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597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63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27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191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59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921" algn="l" defTabSz="91372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>
          <p15:clr>
            <a:srgbClr val="A4A3A4"/>
          </p15:clr>
        </p15:guide>
        <p15:guide id="2" orient="horz" pos="2069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orient="horz" pos="1434">
          <p15:clr>
            <a:srgbClr val="A4A3A4"/>
          </p15:clr>
        </p15:guide>
        <p15:guide id="6" pos="5887">
          <p15:clr>
            <a:srgbClr val="A4A3A4"/>
          </p15:clr>
        </p15:guide>
        <p15:guide id="7" pos="353">
          <p15:clr>
            <a:srgbClr val="A4A3A4"/>
          </p15:clr>
        </p15:guide>
        <p15:guide id="8" pos="3211">
          <p15:clr>
            <a:srgbClr val="A4A3A4"/>
          </p15:clr>
        </p15:guide>
        <p15:guide id="9" pos="33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  <a:srgbClr val="FF3300"/>
    <a:srgbClr val="FF6600"/>
    <a:srgbClr val="0000CC"/>
    <a:srgbClr val="C7E6A4"/>
    <a:srgbClr val="FFB3B3"/>
    <a:srgbClr val="FF9999"/>
    <a:srgbClr val="D9D9D9"/>
    <a:srgbClr val="F5CCA0"/>
    <a:srgbClr val="1E4A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9631B5-78F2-41C9-869B-9F39066F8104}" styleName="보통 스타일 3 - 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99" autoAdjust="0"/>
    <p:restoredTop sz="98443" autoAdjust="0"/>
  </p:normalViewPr>
  <p:slideViewPr>
    <p:cSldViewPr showGuides="1">
      <p:cViewPr varScale="1">
        <p:scale>
          <a:sx n="78" d="100"/>
          <a:sy n="78" d="100"/>
        </p:scale>
        <p:origin x="-1038" y="-96"/>
      </p:cViewPr>
      <p:guideLst>
        <p:guide orient="horz" pos="3929"/>
        <p:guide orient="horz" pos="2069"/>
        <p:guide orient="horz" pos="935"/>
        <p:guide orient="horz" pos="4319"/>
        <p:guide orient="horz" pos="1434"/>
        <p:guide pos="5887"/>
        <p:guide pos="353"/>
        <p:guide pos="3211"/>
        <p:guide pos="3392"/>
      </p:guideLst>
    </p:cSldViewPr>
  </p:slideViewPr>
  <p:outlineViewPr>
    <p:cViewPr>
      <p:scale>
        <a:sx n="33" d="100"/>
        <a:sy n="33" d="100"/>
      </p:scale>
      <p:origin x="6" y="153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-261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86ED45-C5EC-4BF2-B7F6-F109E06AC97A}" type="datetimeFigureOut">
              <a:rPr lang="ko-KR" altLang="en-US" smtClean="0"/>
              <a:pPr/>
              <a:t>2025-03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altLang="ko-KR" dirty="0"/>
              <a:t>d</a:t>
            </a:r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B7D198-AEFE-4A8A-8CAC-4CA56CD2A67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2259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68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28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97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463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27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91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59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921" algn="l" defTabSz="91372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BDE4594-1DA7-4DEF-BCFC-E0DE7A8B79C6}" type="slidenum">
              <a:rPr lang="ko-KR" altLang="en-US" smtClean="0"/>
              <a:pPr/>
              <a:t>1</a:t>
            </a:fld>
            <a:endParaRPr lang="en-US" altLang="ko-KR" dirty="0"/>
          </a:p>
        </p:txBody>
      </p:sp>
      <p:sp>
        <p:nvSpPr>
          <p:cNvPr id="276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968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8840788" y="2103438"/>
            <a:ext cx="1066800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sp>
        <p:nvSpPr>
          <p:cNvPr id="6" name="Freeform 18"/>
          <p:cNvSpPr>
            <a:spLocks/>
          </p:cNvSpPr>
          <p:nvPr/>
        </p:nvSpPr>
        <p:spPr bwMode="auto">
          <a:xfrm>
            <a:off x="8883650" y="2182813"/>
            <a:ext cx="1022350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pic>
        <p:nvPicPr>
          <p:cNvPr id="7" name="Picture 20" descr="중공업"/>
          <p:cNvPicPr>
            <a:picLocks noChangeAspect="1" noChangeArrowheads="1"/>
          </p:cNvPicPr>
          <p:nvPr userDrawn="1"/>
        </p:nvPicPr>
        <p:blipFill>
          <a:blip r:embed="rId2" cstate="print"/>
          <a:srcRect r="22075"/>
          <a:stretch>
            <a:fillRect/>
          </a:stretch>
        </p:blipFill>
        <p:spPr bwMode="auto">
          <a:xfrm>
            <a:off x="3175" y="0"/>
            <a:ext cx="7716838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66788" y="3313113"/>
            <a:ext cx="7366000" cy="366712"/>
          </a:xfrm>
          <a:prstGeom prst="rect">
            <a:avLst/>
          </a:prstGeo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68375" y="3819525"/>
            <a:ext cx="6934200" cy="365125"/>
          </a:xfrm>
          <a:prstGeom prst="rect">
            <a:avLst/>
          </a:prstGeom>
          <a:ln algn="ctr"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392" y="5800150"/>
            <a:ext cx="1296144" cy="91058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398" y="1412776"/>
            <a:ext cx="6075984" cy="3237751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904" y="1527885"/>
            <a:ext cx="911214" cy="8209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71ABD5-C13F-45B6-99AE-78709DCA7F0F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75299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4F1BE-B5A7-43F9-8E44-BBC008074047}" type="slidenum">
              <a:rPr lang="ko-KR" altLang="en-US" smtClean="0"/>
              <a:pPr>
                <a:defRPr/>
              </a:pPr>
              <a:t>‹#›</a:t>
            </a:fld>
            <a:r>
              <a:rPr lang="en-US" altLang="ko-KR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4257611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AC52B1-477A-4293-8140-C58A0F10E626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76001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9EE3B6-505B-481A-A160-105884364691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36604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504EB2-6F31-4D75-A242-37F94EC9DF42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8193447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32638" y="360363"/>
            <a:ext cx="2198687" cy="2446337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1813" y="360363"/>
            <a:ext cx="6448425" cy="2446337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65D603-210E-40FE-937F-CF33286BE325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50507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531813" y="777875"/>
            <a:ext cx="917575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defTabSz="9144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6" name="Group 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9577388" y="7938"/>
            <a:ext cx="328612" cy="1109662"/>
            <a:chOff x="6033" y="5"/>
            <a:chExt cx="207" cy="699"/>
          </a:xfrm>
        </p:grpSpPr>
        <p:sp>
          <p:nvSpPr>
            <p:cNvPr id="7" name="Freeform 9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defTabSz="91440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Freeform 10"/>
            <p:cNvSpPr>
              <a:spLocks/>
            </p:cNvSpPr>
            <p:nvPr userDrawn="1"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defTabSz="91440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69975" y="342900"/>
            <a:ext cx="8942233" cy="29238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95379" y="871538"/>
            <a:ext cx="8916829" cy="215444"/>
          </a:xfr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9" name="슬라이드 번호 개체 틀 3"/>
          <p:cNvSpPr>
            <a:spLocks noGrp="1"/>
          </p:cNvSpPr>
          <p:nvPr>
            <p:ph type="sldNum" sz="quarter" idx="10"/>
          </p:nvPr>
        </p:nvSpPr>
        <p:spPr>
          <a:xfrm>
            <a:off x="4737100" y="6611938"/>
            <a:ext cx="407988" cy="153987"/>
          </a:xfrm>
        </p:spPr>
        <p:txBody>
          <a:bodyPr/>
          <a:lstStyle>
            <a:lvl1pPr>
              <a:spcAft>
                <a:spcPct val="30000"/>
              </a:spcAft>
              <a:buClr>
                <a:srgbClr val="4D4D4D"/>
              </a:buClr>
              <a:buFont typeface="Wingdings 2" pitchFamily="18" charset="2"/>
              <a:buNone/>
              <a:defRPr kumimoji="1" b="1">
                <a:ea typeface="맑은 고딕" pitchFamily="50" charset="-127"/>
                <a:cs typeface="Arial" charset="0"/>
              </a:defRPr>
            </a:lvl1pPr>
          </a:lstStyle>
          <a:p>
            <a:pPr>
              <a:defRPr/>
            </a:pPr>
            <a:fld id="{78087911-E885-42DF-A77F-89CFD4172E0D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489278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>
            <a:off x="968841" y="4659313"/>
            <a:ext cx="8665566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defTabSz="914400" fontAlgn="base" latinLnBrk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</a:pPr>
            <a:endParaRPr lang="ko-KR" altLang="en-US" sz="1200" b="1">
              <a:solidFill>
                <a:srgbClr val="000000"/>
              </a:solidFill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8841864" y="2103438"/>
            <a:ext cx="1065724" cy="3622675"/>
          </a:xfrm>
          <a:custGeom>
            <a:avLst/>
            <a:gdLst>
              <a:gd name="T0" fmla="*/ 2147483647 w 661"/>
              <a:gd name="T1" fmla="*/ 0 h 2245"/>
              <a:gd name="T2" fmla="*/ 0 w 661"/>
              <a:gd name="T3" fmla="*/ 2147483647 h 2245"/>
              <a:gd name="T4" fmla="*/ 2147483647 w 661"/>
              <a:gd name="T5" fmla="*/ 2147483647 h 22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28575" cmpd="sng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14400" fontAlgn="base" latinLnBrk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</a:pPr>
            <a:endParaRPr lang="ko-KR" altLang="en-US" sz="1200" b="1">
              <a:solidFill>
                <a:srgbClr val="000000"/>
              </a:solidFill>
            </a:endParaRPr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>
            <a:off x="8884747" y="2182814"/>
            <a:ext cx="1021254" cy="3500437"/>
          </a:xfrm>
          <a:custGeom>
            <a:avLst/>
            <a:gdLst>
              <a:gd name="T0" fmla="*/ 2147483647 w 661"/>
              <a:gd name="T1" fmla="*/ 0 h 2245"/>
              <a:gd name="T2" fmla="*/ 0 w 661"/>
              <a:gd name="T3" fmla="*/ 2147483647 h 2245"/>
              <a:gd name="T4" fmla="*/ 2147483647 w 661"/>
              <a:gd name="T5" fmla="*/ 2147483647 h 22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>
            <a:noFill/>
          </a:ln>
          <a:extLst>
            <a:ext uri="{91240B29-F687-4F45-9708-019B960494DF}">
              <a14:hiddenLine xmlns:a14="http://schemas.microsoft.com/office/drawing/2010/main" w="28575" cmpd="sng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14400" fontAlgn="base" latinLnBrk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</a:pPr>
            <a:endParaRPr lang="ko-KR" altLang="en-US" sz="1200" b="1">
              <a:solidFill>
                <a:srgbClr val="000000"/>
              </a:solidFill>
            </a:endParaRPr>
          </a:p>
        </p:txBody>
      </p:sp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979960" y="363539"/>
            <a:ext cx="1489791" cy="695325"/>
            <a:chOff x="617" y="229"/>
            <a:chExt cx="940" cy="438"/>
          </a:xfrm>
        </p:grpSpPr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17" y="229"/>
              <a:ext cx="395" cy="394"/>
            </a:xfrm>
            <a:custGeom>
              <a:avLst/>
              <a:gdLst>
                <a:gd name="T0" fmla="*/ 0 w 395"/>
                <a:gd name="T1" fmla="*/ 297 h 394"/>
                <a:gd name="T2" fmla="*/ 97 w 395"/>
                <a:gd name="T3" fmla="*/ 0 h 394"/>
                <a:gd name="T4" fmla="*/ 395 w 395"/>
                <a:gd name="T5" fmla="*/ 96 h 394"/>
                <a:gd name="T6" fmla="*/ 298 w 395"/>
                <a:gd name="T7" fmla="*/ 394 h 394"/>
                <a:gd name="T8" fmla="*/ 0 w 395"/>
                <a:gd name="T9" fmla="*/ 297 h 3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5" h="394">
                  <a:moveTo>
                    <a:pt x="0" y="297"/>
                  </a:moveTo>
                  <a:lnTo>
                    <a:pt x="97" y="0"/>
                  </a:lnTo>
                  <a:lnTo>
                    <a:pt x="395" y="96"/>
                  </a:lnTo>
                  <a:lnTo>
                    <a:pt x="298" y="394"/>
                  </a:lnTo>
                  <a:lnTo>
                    <a:pt x="0" y="297"/>
                  </a:lnTo>
                  <a:close/>
                </a:path>
              </a:pathLst>
            </a:custGeom>
            <a:solidFill>
              <a:srgbClr val="0F238C"/>
            </a:solidFill>
            <a:ln w="0">
              <a:solidFill>
                <a:srgbClr val="0F238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913" y="331"/>
              <a:ext cx="340" cy="336"/>
            </a:xfrm>
            <a:custGeom>
              <a:avLst/>
              <a:gdLst>
                <a:gd name="T0" fmla="*/ 24 w 337"/>
                <a:gd name="T1" fmla="*/ 336 h 336"/>
                <a:gd name="T2" fmla="*/ 0 w 337"/>
                <a:gd name="T3" fmla="*/ 24 h 336"/>
                <a:gd name="T4" fmla="*/ 420 w 337"/>
                <a:gd name="T5" fmla="*/ 0 h 336"/>
                <a:gd name="T6" fmla="*/ 450 w 337"/>
                <a:gd name="T7" fmla="*/ 314 h 336"/>
                <a:gd name="T8" fmla="*/ 24 w 337"/>
                <a:gd name="T9" fmla="*/ 336 h 3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7" h="336">
                  <a:moveTo>
                    <a:pt x="24" y="336"/>
                  </a:moveTo>
                  <a:lnTo>
                    <a:pt x="0" y="24"/>
                  </a:lnTo>
                  <a:lnTo>
                    <a:pt x="315" y="0"/>
                  </a:lnTo>
                  <a:lnTo>
                    <a:pt x="337" y="314"/>
                  </a:lnTo>
                  <a:lnTo>
                    <a:pt x="24" y="336"/>
                  </a:lnTo>
                  <a:close/>
                </a:path>
              </a:pathLst>
            </a:custGeom>
            <a:solidFill>
              <a:srgbClr val="0189B4"/>
            </a:solidFill>
            <a:ln w="0">
              <a:solidFill>
                <a:srgbClr val="0189B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211" y="298"/>
              <a:ext cx="346" cy="347"/>
            </a:xfrm>
            <a:custGeom>
              <a:avLst/>
              <a:gdLst>
                <a:gd name="T0" fmla="*/ 0 w 346"/>
                <a:gd name="T1" fmla="*/ 312 h 347"/>
                <a:gd name="T2" fmla="*/ 35 w 346"/>
                <a:gd name="T3" fmla="*/ 0 h 347"/>
                <a:gd name="T4" fmla="*/ 346 w 346"/>
                <a:gd name="T5" fmla="*/ 35 h 347"/>
                <a:gd name="T6" fmla="*/ 311 w 346"/>
                <a:gd name="T7" fmla="*/ 347 h 347"/>
                <a:gd name="T8" fmla="*/ 0 w 346"/>
                <a:gd name="T9" fmla="*/ 312 h 3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6" h="347">
                  <a:moveTo>
                    <a:pt x="0" y="312"/>
                  </a:moveTo>
                  <a:lnTo>
                    <a:pt x="35" y="0"/>
                  </a:lnTo>
                  <a:lnTo>
                    <a:pt x="346" y="35"/>
                  </a:lnTo>
                  <a:lnTo>
                    <a:pt x="311" y="347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019069"/>
            </a:solidFill>
            <a:ln w="0">
              <a:solidFill>
                <a:srgbClr val="019069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 userDrawn="1"/>
          </p:nvSpPr>
          <p:spPr bwMode="auto">
            <a:xfrm>
              <a:off x="655" y="398"/>
              <a:ext cx="157" cy="114"/>
            </a:xfrm>
            <a:custGeom>
              <a:avLst/>
              <a:gdLst>
                <a:gd name="T0" fmla="*/ 40 w 157"/>
                <a:gd name="T1" fmla="*/ 0 h 114"/>
                <a:gd name="T2" fmla="*/ 112 w 157"/>
                <a:gd name="T3" fmla="*/ 0 h 114"/>
                <a:gd name="T4" fmla="*/ 112 w 157"/>
                <a:gd name="T5" fmla="*/ 0 h 114"/>
                <a:gd name="T6" fmla="*/ 130 w 157"/>
                <a:gd name="T7" fmla="*/ 2 h 114"/>
                <a:gd name="T8" fmla="*/ 143 w 157"/>
                <a:gd name="T9" fmla="*/ 6 h 114"/>
                <a:gd name="T10" fmla="*/ 150 w 157"/>
                <a:gd name="T11" fmla="*/ 11 h 114"/>
                <a:gd name="T12" fmla="*/ 156 w 157"/>
                <a:gd name="T13" fmla="*/ 19 h 114"/>
                <a:gd name="T14" fmla="*/ 157 w 157"/>
                <a:gd name="T15" fmla="*/ 26 h 114"/>
                <a:gd name="T16" fmla="*/ 156 w 157"/>
                <a:gd name="T17" fmla="*/ 35 h 114"/>
                <a:gd name="T18" fmla="*/ 150 w 157"/>
                <a:gd name="T19" fmla="*/ 57 h 114"/>
                <a:gd name="T20" fmla="*/ 150 w 157"/>
                <a:gd name="T21" fmla="*/ 57 h 114"/>
                <a:gd name="T22" fmla="*/ 141 w 157"/>
                <a:gd name="T23" fmla="*/ 79 h 114"/>
                <a:gd name="T24" fmla="*/ 135 w 157"/>
                <a:gd name="T25" fmla="*/ 88 h 114"/>
                <a:gd name="T26" fmla="*/ 128 w 157"/>
                <a:gd name="T27" fmla="*/ 95 h 114"/>
                <a:gd name="T28" fmla="*/ 119 w 157"/>
                <a:gd name="T29" fmla="*/ 103 h 114"/>
                <a:gd name="T30" fmla="*/ 106 w 157"/>
                <a:gd name="T31" fmla="*/ 108 h 114"/>
                <a:gd name="T32" fmla="*/ 90 w 157"/>
                <a:gd name="T33" fmla="*/ 112 h 114"/>
                <a:gd name="T34" fmla="*/ 71 w 157"/>
                <a:gd name="T35" fmla="*/ 114 h 114"/>
                <a:gd name="T36" fmla="*/ 0 w 157"/>
                <a:gd name="T37" fmla="*/ 114 h 114"/>
                <a:gd name="T38" fmla="*/ 40 w 157"/>
                <a:gd name="T39" fmla="*/ 0 h 114"/>
                <a:gd name="T40" fmla="*/ 57 w 157"/>
                <a:gd name="T41" fmla="*/ 92 h 114"/>
                <a:gd name="T42" fmla="*/ 66 w 157"/>
                <a:gd name="T43" fmla="*/ 92 h 114"/>
                <a:gd name="T44" fmla="*/ 66 w 157"/>
                <a:gd name="T45" fmla="*/ 92 h 114"/>
                <a:gd name="T46" fmla="*/ 79 w 157"/>
                <a:gd name="T47" fmla="*/ 92 h 114"/>
                <a:gd name="T48" fmla="*/ 82 w 157"/>
                <a:gd name="T49" fmla="*/ 90 h 114"/>
                <a:gd name="T50" fmla="*/ 86 w 157"/>
                <a:gd name="T51" fmla="*/ 86 h 114"/>
                <a:gd name="T52" fmla="*/ 93 w 157"/>
                <a:gd name="T53" fmla="*/ 75 h 114"/>
                <a:gd name="T54" fmla="*/ 101 w 157"/>
                <a:gd name="T55" fmla="*/ 57 h 114"/>
                <a:gd name="T56" fmla="*/ 101 w 157"/>
                <a:gd name="T57" fmla="*/ 57 h 114"/>
                <a:gd name="T58" fmla="*/ 106 w 157"/>
                <a:gd name="T59" fmla="*/ 39 h 114"/>
                <a:gd name="T60" fmla="*/ 106 w 157"/>
                <a:gd name="T61" fmla="*/ 33 h 114"/>
                <a:gd name="T62" fmla="*/ 106 w 157"/>
                <a:gd name="T63" fmla="*/ 28 h 114"/>
                <a:gd name="T64" fmla="*/ 104 w 157"/>
                <a:gd name="T65" fmla="*/ 26 h 114"/>
                <a:gd name="T66" fmla="*/ 103 w 157"/>
                <a:gd name="T67" fmla="*/ 24 h 114"/>
                <a:gd name="T68" fmla="*/ 92 w 157"/>
                <a:gd name="T69" fmla="*/ 22 h 114"/>
                <a:gd name="T70" fmla="*/ 81 w 157"/>
                <a:gd name="T71" fmla="*/ 22 h 114"/>
                <a:gd name="T72" fmla="*/ 57 w 157"/>
                <a:gd name="T73" fmla="*/ 92 h 11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7" h="114">
                  <a:moveTo>
                    <a:pt x="40" y="0"/>
                  </a:moveTo>
                  <a:lnTo>
                    <a:pt x="112" y="0"/>
                  </a:lnTo>
                  <a:lnTo>
                    <a:pt x="130" y="2"/>
                  </a:lnTo>
                  <a:lnTo>
                    <a:pt x="143" y="6"/>
                  </a:lnTo>
                  <a:lnTo>
                    <a:pt x="150" y="11"/>
                  </a:lnTo>
                  <a:lnTo>
                    <a:pt x="156" y="19"/>
                  </a:lnTo>
                  <a:lnTo>
                    <a:pt x="157" y="26"/>
                  </a:lnTo>
                  <a:lnTo>
                    <a:pt x="156" y="35"/>
                  </a:lnTo>
                  <a:lnTo>
                    <a:pt x="150" y="57"/>
                  </a:lnTo>
                  <a:lnTo>
                    <a:pt x="141" y="79"/>
                  </a:lnTo>
                  <a:lnTo>
                    <a:pt x="135" y="88"/>
                  </a:lnTo>
                  <a:lnTo>
                    <a:pt x="128" y="95"/>
                  </a:lnTo>
                  <a:lnTo>
                    <a:pt x="119" y="103"/>
                  </a:lnTo>
                  <a:lnTo>
                    <a:pt x="106" y="108"/>
                  </a:lnTo>
                  <a:lnTo>
                    <a:pt x="90" y="112"/>
                  </a:lnTo>
                  <a:lnTo>
                    <a:pt x="71" y="114"/>
                  </a:lnTo>
                  <a:lnTo>
                    <a:pt x="0" y="114"/>
                  </a:lnTo>
                  <a:lnTo>
                    <a:pt x="40" y="0"/>
                  </a:lnTo>
                  <a:close/>
                  <a:moveTo>
                    <a:pt x="57" y="92"/>
                  </a:moveTo>
                  <a:lnTo>
                    <a:pt x="66" y="92"/>
                  </a:lnTo>
                  <a:lnTo>
                    <a:pt x="79" y="92"/>
                  </a:lnTo>
                  <a:lnTo>
                    <a:pt x="82" y="90"/>
                  </a:lnTo>
                  <a:lnTo>
                    <a:pt x="86" y="86"/>
                  </a:lnTo>
                  <a:lnTo>
                    <a:pt x="93" y="75"/>
                  </a:lnTo>
                  <a:lnTo>
                    <a:pt x="101" y="57"/>
                  </a:lnTo>
                  <a:lnTo>
                    <a:pt x="106" y="39"/>
                  </a:lnTo>
                  <a:lnTo>
                    <a:pt x="106" y="33"/>
                  </a:lnTo>
                  <a:lnTo>
                    <a:pt x="106" y="28"/>
                  </a:lnTo>
                  <a:lnTo>
                    <a:pt x="104" y="26"/>
                  </a:lnTo>
                  <a:lnTo>
                    <a:pt x="103" y="24"/>
                  </a:lnTo>
                  <a:lnTo>
                    <a:pt x="92" y="22"/>
                  </a:lnTo>
                  <a:lnTo>
                    <a:pt x="81" y="22"/>
                  </a:lnTo>
                  <a:lnTo>
                    <a:pt x="57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 userDrawn="1"/>
          </p:nvSpPr>
          <p:spPr bwMode="auto">
            <a:xfrm>
              <a:off x="807" y="397"/>
              <a:ext cx="141" cy="116"/>
            </a:xfrm>
            <a:custGeom>
              <a:avLst/>
              <a:gdLst>
                <a:gd name="T0" fmla="*/ 52 w 144"/>
                <a:gd name="T1" fmla="*/ 0 h 116"/>
                <a:gd name="T2" fmla="*/ 57 w 144"/>
                <a:gd name="T3" fmla="*/ 3 h 116"/>
                <a:gd name="T4" fmla="*/ 67 w 144"/>
                <a:gd name="T5" fmla="*/ 14 h 116"/>
                <a:gd name="T6" fmla="*/ 68 w 144"/>
                <a:gd name="T7" fmla="*/ 31 h 116"/>
                <a:gd name="T8" fmla="*/ 66 w 144"/>
                <a:gd name="T9" fmla="*/ 58 h 116"/>
                <a:gd name="T10" fmla="*/ 63 w 144"/>
                <a:gd name="T11" fmla="*/ 73 h 116"/>
                <a:gd name="T12" fmla="*/ 54 w 144"/>
                <a:gd name="T13" fmla="*/ 94 h 116"/>
                <a:gd name="T14" fmla="*/ 52 w 144"/>
                <a:gd name="T15" fmla="*/ 109 h 116"/>
                <a:gd name="T16" fmla="*/ 49 w 144"/>
                <a:gd name="T17" fmla="*/ 116 h 116"/>
                <a:gd name="T18" fmla="*/ 31 w 144"/>
                <a:gd name="T19" fmla="*/ 116 h 116"/>
                <a:gd name="T20" fmla="*/ 22 w 144"/>
                <a:gd name="T21" fmla="*/ 113 h 116"/>
                <a:gd name="T22" fmla="*/ 4 w 144"/>
                <a:gd name="T23" fmla="*/ 104 h 116"/>
                <a:gd name="T24" fmla="*/ 0 w 144"/>
                <a:gd name="T25" fmla="*/ 85 h 116"/>
                <a:gd name="T26" fmla="*/ 5 w 144"/>
                <a:gd name="T27" fmla="*/ 58 h 116"/>
                <a:gd name="T28" fmla="*/ 11 w 144"/>
                <a:gd name="T29" fmla="*/ 43 h 116"/>
                <a:gd name="T30" fmla="*/ 24 w 144"/>
                <a:gd name="T31" fmla="*/ 21 h 116"/>
                <a:gd name="T32" fmla="*/ 27 w 144"/>
                <a:gd name="T33" fmla="*/ 7 h 116"/>
                <a:gd name="T34" fmla="*/ 52 w 144"/>
                <a:gd name="T35" fmla="*/ 1 h 116"/>
                <a:gd name="T36" fmla="*/ 52 w 144"/>
                <a:gd name="T37" fmla="*/ 0 h 116"/>
                <a:gd name="T38" fmla="*/ 38 w 144"/>
                <a:gd name="T39" fmla="*/ 96 h 116"/>
                <a:gd name="T40" fmla="*/ 48 w 144"/>
                <a:gd name="T41" fmla="*/ 94 h 116"/>
                <a:gd name="T42" fmla="*/ 52 w 144"/>
                <a:gd name="T43" fmla="*/ 89 h 116"/>
                <a:gd name="T44" fmla="*/ 52 w 144"/>
                <a:gd name="T45" fmla="*/ 58 h 116"/>
                <a:gd name="T46" fmla="*/ 52 w 144"/>
                <a:gd name="T47" fmla="*/ 40 h 116"/>
                <a:gd name="T48" fmla="*/ 52 w 144"/>
                <a:gd name="T49" fmla="*/ 23 h 116"/>
                <a:gd name="T50" fmla="*/ 52 w 144"/>
                <a:gd name="T51" fmla="*/ 20 h 116"/>
                <a:gd name="T52" fmla="*/ 52 w 144"/>
                <a:gd name="T53" fmla="*/ 20 h 116"/>
                <a:gd name="T54" fmla="*/ 52 w 144"/>
                <a:gd name="T55" fmla="*/ 21 h 116"/>
                <a:gd name="T56" fmla="*/ 49 w 144"/>
                <a:gd name="T57" fmla="*/ 27 h 116"/>
                <a:gd name="T58" fmla="*/ 35 w 144"/>
                <a:gd name="T59" fmla="*/ 58 h 116"/>
                <a:gd name="T60" fmla="*/ 29 w 144"/>
                <a:gd name="T61" fmla="*/ 76 h 116"/>
                <a:gd name="T62" fmla="*/ 27 w 144"/>
                <a:gd name="T63" fmla="*/ 93 h 116"/>
                <a:gd name="T64" fmla="*/ 33 w 144"/>
                <a:gd name="T65" fmla="*/ 96 h 116"/>
                <a:gd name="T66" fmla="*/ 38 w 144"/>
                <a:gd name="T67" fmla="*/ 96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44" h="116">
                  <a:moveTo>
                    <a:pt x="93" y="0"/>
                  </a:moveTo>
                  <a:lnTo>
                    <a:pt x="93" y="0"/>
                  </a:lnTo>
                  <a:lnTo>
                    <a:pt x="110" y="1"/>
                  </a:lnTo>
                  <a:lnTo>
                    <a:pt x="122" y="3"/>
                  </a:lnTo>
                  <a:lnTo>
                    <a:pt x="133" y="7"/>
                  </a:lnTo>
                  <a:lnTo>
                    <a:pt x="141" y="14"/>
                  </a:lnTo>
                  <a:lnTo>
                    <a:pt x="144" y="21"/>
                  </a:lnTo>
                  <a:lnTo>
                    <a:pt x="144" y="31"/>
                  </a:lnTo>
                  <a:lnTo>
                    <a:pt x="143" y="43"/>
                  </a:lnTo>
                  <a:lnTo>
                    <a:pt x="139" y="58"/>
                  </a:lnTo>
                  <a:lnTo>
                    <a:pt x="133" y="73"/>
                  </a:lnTo>
                  <a:lnTo>
                    <a:pt x="126" y="85"/>
                  </a:lnTo>
                  <a:lnTo>
                    <a:pt x="117" y="94"/>
                  </a:lnTo>
                  <a:lnTo>
                    <a:pt x="108" y="104"/>
                  </a:lnTo>
                  <a:lnTo>
                    <a:pt x="97" y="109"/>
                  </a:lnTo>
                  <a:lnTo>
                    <a:pt x="84" y="113"/>
                  </a:lnTo>
                  <a:lnTo>
                    <a:pt x="69" y="116"/>
                  </a:lnTo>
                  <a:lnTo>
                    <a:pt x="51" y="116"/>
                  </a:lnTo>
                  <a:lnTo>
                    <a:pt x="35" y="116"/>
                  </a:lnTo>
                  <a:lnTo>
                    <a:pt x="22" y="113"/>
                  </a:lnTo>
                  <a:lnTo>
                    <a:pt x="11" y="109"/>
                  </a:lnTo>
                  <a:lnTo>
                    <a:pt x="4" y="104"/>
                  </a:lnTo>
                  <a:lnTo>
                    <a:pt x="0" y="94"/>
                  </a:lnTo>
                  <a:lnTo>
                    <a:pt x="0" y="85"/>
                  </a:lnTo>
                  <a:lnTo>
                    <a:pt x="2" y="73"/>
                  </a:lnTo>
                  <a:lnTo>
                    <a:pt x="5" y="58"/>
                  </a:lnTo>
                  <a:lnTo>
                    <a:pt x="11" y="43"/>
                  </a:lnTo>
                  <a:lnTo>
                    <a:pt x="18" y="31"/>
                  </a:lnTo>
                  <a:lnTo>
                    <a:pt x="26" y="21"/>
                  </a:lnTo>
                  <a:lnTo>
                    <a:pt x="36" y="14"/>
                  </a:lnTo>
                  <a:lnTo>
                    <a:pt x="47" y="7"/>
                  </a:lnTo>
                  <a:lnTo>
                    <a:pt x="60" y="3"/>
                  </a:lnTo>
                  <a:lnTo>
                    <a:pt x="75" y="1"/>
                  </a:lnTo>
                  <a:lnTo>
                    <a:pt x="93" y="0"/>
                  </a:lnTo>
                  <a:close/>
                  <a:moveTo>
                    <a:pt x="58" y="96"/>
                  </a:moveTo>
                  <a:lnTo>
                    <a:pt x="58" y="96"/>
                  </a:lnTo>
                  <a:lnTo>
                    <a:pt x="64" y="96"/>
                  </a:lnTo>
                  <a:lnTo>
                    <a:pt x="68" y="94"/>
                  </a:lnTo>
                  <a:lnTo>
                    <a:pt x="71" y="93"/>
                  </a:lnTo>
                  <a:lnTo>
                    <a:pt x="75" y="89"/>
                  </a:lnTo>
                  <a:lnTo>
                    <a:pt x="82" y="76"/>
                  </a:lnTo>
                  <a:lnTo>
                    <a:pt x="88" y="58"/>
                  </a:lnTo>
                  <a:lnTo>
                    <a:pt x="95" y="40"/>
                  </a:lnTo>
                  <a:lnTo>
                    <a:pt x="97" y="27"/>
                  </a:lnTo>
                  <a:lnTo>
                    <a:pt x="95" y="23"/>
                  </a:lnTo>
                  <a:lnTo>
                    <a:pt x="93" y="21"/>
                  </a:lnTo>
                  <a:lnTo>
                    <a:pt x="91" y="20"/>
                  </a:lnTo>
                  <a:lnTo>
                    <a:pt x="86" y="20"/>
                  </a:lnTo>
                  <a:lnTo>
                    <a:pt x="80" y="20"/>
                  </a:lnTo>
                  <a:lnTo>
                    <a:pt x="77" y="21"/>
                  </a:lnTo>
                  <a:lnTo>
                    <a:pt x="73" y="23"/>
                  </a:lnTo>
                  <a:lnTo>
                    <a:pt x="69" y="27"/>
                  </a:lnTo>
                  <a:lnTo>
                    <a:pt x="62" y="40"/>
                  </a:lnTo>
                  <a:lnTo>
                    <a:pt x="55" y="58"/>
                  </a:lnTo>
                  <a:lnTo>
                    <a:pt x="49" y="76"/>
                  </a:lnTo>
                  <a:lnTo>
                    <a:pt x="47" y="89"/>
                  </a:lnTo>
                  <a:lnTo>
                    <a:pt x="47" y="93"/>
                  </a:lnTo>
                  <a:lnTo>
                    <a:pt x="49" y="94"/>
                  </a:lnTo>
                  <a:lnTo>
                    <a:pt x="53" y="96"/>
                  </a:lnTo>
                  <a:lnTo>
                    <a:pt x="58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948" y="397"/>
              <a:ext cx="144" cy="116"/>
            </a:xfrm>
            <a:custGeom>
              <a:avLst/>
              <a:gdLst>
                <a:gd name="T0" fmla="*/ 93 w 144"/>
                <a:gd name="T1" fmla="*/ 0 h 116"/>
                <a:gd name="T2" fmla="*/ 122 w 144"/>
                <a:gd name="T3" fmla="*/ 3 h 116"/>
                <a:gd name="T4" fmla="*/ 141 w 144"/>
                <a:gd name="T5" fmla="*/ 14 h 116"/>
                <a:gd name="T6" fmla="*/ 144 w 144"/>
                <a:gd name="T7" fmla="*/ 31 h 116"/>
                <a:gd name="T8" fmla="*/ 139 w 144"/>
                <a:gd name="T9" fmla="*/ 58 h 116"/>
                <a:gd name="T10" fmla="*/ 133 w 144"/>
                <a:gd name="T11" fmla="*/ 73 h 116"/>
                <a:gd name="T12" fmla="*/ 117 w 144"/>
                <a:gd name="T13" fmla="*/ 94 h 116"/>
                <a:gd name="T14" fmla="*/ 97 w 144"/>
                <a:gd name="T15" fmla="*/ 109 h 116"/>
                <a:gd name="T16" fmla="*/ 69 w 144"/>
                <a:gd name="T17" fmla="*/ 116 h 116"/>
                <a:gd name="T18" fmla="*/ 51 w 144"/>
                <a:gd name="T19" fmla="*/ 116 h 116"/>
                <a:gd name="T20" fmla="*/ 22 w 144"/>
                <a:gd name="T21" fmla="*/ 113 h 116"/>
                <a:gd name="T22" fmla="*/ 3 w 144"/>
                <a:gd name="T23" fmla="*/ 104 h 116"/>
                <a:gd name="T24" fmla="*/ 0 w 144"/>
                <a:gd name="T25" fmla="*/ 85 h 116"/>
                <a:gd name="T26" fmla="*/ 5 w 144"/>
                <a:gd name="T27" fmla="*/ 58 h 116"/>
                <a:gd name="T28" fmla="*/ 11 w 144"/>
                <a:gd name="T29" fmla="*/ 43 h 116"/>
                <a:gd name="T30" fmla="*/ 25 w 144"/>
                <a:gd name="T31" fmla="*/ 21 h 116"/>
                <a:gd name="T32" fmla="*/ 47 w 144"/>
                <a:gd name="T33" fmla="*/ 7 h 116"/>
                <a:gd name="T34" fmla="*/ 75 w 144"/>
                <a:gd name="T35" fmla="*/ 1 h 116"/>
                <a:gd name="T36" fmla="*/ 93 w 144"/>
                <a:gd name="T37" fmla="*/ 0 h 116"/>
                <a:gd name="T38" fmla="*/ 58 w 144"/>
                <a:gd name="T39" fmla="*/ 96 h 116"/>
                <a:gd name="T40" fmla="*/ 67 w 144"/>
                <a:gd name="T41" fmla="*/ 94 h 116"/>
                <a:gd name="T42" fmla="*/ 75 w 144"/>
                <a:gd name="T43" fmla="*/ 89 h 116"/>
                <a:gd name="T44" fmla="*/ 88 w 144"/>
                <a:gd name="T45" fmla="*/ 58 h 116"/>
                <a:gd name="T46" fmla="*/ 95 w 144"/>
                <a:gd name="T47" fmla="*/ 40 h 116"/>
                <a:gd name="T48" fmla="*/ 95 w 144"/>
                <a:gd name="T49" fmla="*/ 23 h 116"/>
                <a:gd name="T50" fmla="*/ 91 w 144"/>
                <a:gd name="T51" fmla="*/ 20 h 116"/>
                <a:gd name="T52" fmla="*/ 86 w 144"/>
                <a:gd name="T53" fmla="*/ 20 h 116"/>
                <a:gd name="T54" fmla="*/ 77 w 144"/>
                <a:gd name="T55" fmla="*/ 21 h 116"/>
                <a:gd name="T56" fmla="*/ 69 w 144"/>
                <a:gd name="T57" fmla="*/ 27 h 116"/>
                <a:gd name="T58" fmla="*/ 55 w 144"/>
                <a:gd name="T59" fmla="*/ 58 h 116"/>
                <a:gd name="T60" fmla="*/ 49 w 144"/>
                <a:gd name="T61" fmla="*/ 76 h 116"/>
                <a:gd name="T62" fmla="*/ 47 w 144"/>
                <a:gd name="T63" fmla="*/ 93 h 116"/>
                <a:gd name="T64" fmla="*/ 53 w 144"/>
                <a:gd name="T65" fmla="*/ 96 h 116"/>
                <a:gd name="T66" fmla="*/ 58 w 144"/>
                <a:gd name="T67" fmla="*/ 96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44" h="116">
                  <a:moveTo>
                    <a:pt x="93" y="0"/>
                  </a:moveTo>
                  <a:lnTo>
                    <a:pt x="93" y="0"/>
                  </a:lnTo>
                  <a:lnTo>
                    <a:pt x="109" y="1"/>
                  </a:lnTo>
                  <a:lnTo>
                    <a:pt x="122" y="3"/>
                  </a:lnTo>
                  <a:lnTo>
                    <a:pt x="133" y="7"/>
                  </a:lnTo>
                  <a:lnTo>
                    <a:pt x="141" y="14"/>
                  </a:lnTo>
                  <a:lnTo>
                    <a:pt x="144" y="21"/>
                  </a:lnTo>
                  <a:lnTo>
                    <a:pt x="144" y="31"/>
                  </a:lnTo>
                  <a:lnTo>
                    <a:pt x="142" y="43"/>
                  </a:lnTo>
                  <a:lnTo>
                    <a:pt x="139" y="58"/>
                  </a:lnTo>
                  <a:lnTo>
                    <a:pt x="133" y="73"/>
                  </a:lnTo>
                  <a:lnTo>
                    <a:pt x="126" y="85"/>
                  </a:lnTo>
                  <a:lnTo>
                    <a:pt x="117" y="94"/>
                  </a:lnTo>
                  <a:lnTo>
                    <a:pt x="108" y="104"/>
                  </a:lnTo>
                  <a:lnTo>
                    <a:pt x="97" y="109"/>
                  </a:lnTo>
                  <a:lnTo>
                    <a:pt x="84" y="113"/>
                  </a:lnTo>
                  <a:lnTo>
                    <a:pt x="69" y="116"/>
                  </a:lnTo>
                  <a:lnTo>
                    <a:pt x="51" y="116"/>
                  </a:lnTo>
                  <a:lnTo>
                    <a:pt x="35" y="116"/>
                  </a:lnTo>
                  <a:lnTo>
                    <a:pt x="22" y="113"/>
                  </a:lnTo>
                  <a:lnTo>
                    <a:pt x="11" y="109"/>
                  </a:lnTo>
                  <a:lnTo>
                    <a:pt x="3" y="104"/>
                  </a:lnTo>
                  <a:lnTo>
                    <a:pt x="0" y="94"/>
                  </a:lnTo>
                  <a:lnTo>
                    <a:pt x="0" y="85"/>
                  </a:lnTo>
                  <a:lnTo>
                    <a:pt x="2" y="73"/>
                  </a:lnTo>
                  <a:lnTo>
                    <a:pt x="5" y="58"/>
                  </a:lnTo>
                  <a:lnTo>
                    <a:pt x="11" y="43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36" y="14"/>
                  </a:lnTo>
                  <a:lnTo>
                    <a:pt x="47" y="7"/>
                  </a:lnTo>
                  <a:lnTo>
                    <a:pt x="60" y="3"/>
                  </a:lnTo>
                  <a:lnTo>
                    <a:pt x="75" y="1"/>
                  </a:lnTo>
                  <a:lnTo>
                    <a:pt x="93" y="0"/>
                  </a:lnTo>
                  <a:close/>
                  <a:moveTo>
                    <a:pt x="58" y="96"/>
                  </a:moveTo>
                  <a:lnTo>
                    <a:pt x="58" y="96"/>
                  </a:lnTo>
                  <a:lnTo>
                    <a:pt x="64" y="96"/>
                  </a:lnTo>
                  <a:lnTo>
                    <a:pt x="67" y="94"/>
                  </a:lnTo>
                  <a:lnTo>
                    <a:pt x="71" y="93"/>
                  </a:lnTo>
                  <a:lnTo>
                    <a:pt x="75" y="89"/>
                  </a:lnTo>
                  <a:lnTo>
                    <a:pt x="82" y="76"/>
                  </a:lnTo>
                  <a:lnTo>
                    <a:pt x="88" y="58"/>
                  </a:lnTo>
                  <a:lnTo>
                    <a:pt x="95" y="40"/>
                  </a:lnTo>
                  <a:lnTo>
                    <a:pt x="97" y="27"/>
                  </a:lnTo>
                  <a:lnTo>
                    <a:pt x="95" y="23"/>
                  </a:lnTo>
                  <a:lnTo>
                    <a:pt x="93" y="21"/>
                  </a:lnTo>
                  <a:lnTo>
                    <a:pt x="91" y="20"/>
                  </a:lnTo>
                  <a:lnTo>
                    <a:pt x="86" y="20"/>
                  </a:lnTo>
                  <a:lnTo>
                    <a:pt x="80" y="20"/>
                  </a:lnTo>
                  <a:lnTo>
                    <a:pt x="77" y="21"/>
                  </a:lnTo>
                  <a:lnTo>
                    <a:pt x="73" y="23"/>
                  </a:lnTo>
                  <a:lnTo>
                    <a:pt x="69" y="27"/>
                  </a:lnTo>
                  <a:lnTo>
                    <a:pt x="62" y="40"/>
                  </a:lnTo>
                  <a:lnTo>
                    <a:pt x="55" y="58"/>
                  </a:lnTo>
                  <a:lnTo>
                    <a:pt x="49" y="76"/>
                  </a:lnTo>
                  <a:lnTo>
                    <a:pt x="47" y="89"/>
                  </a:lnTo>
                  <a:lnTo>
                    <a:pt x="47" y="93"/>
                  </a:lnTo>
                  <a:lnTo>
                    <a:pt x="49" y="94"/>
                  </a:lnTo>
                  <a:lnTo>
                    <a:pt x="53" y="96"/>
                  </a:lnTo>
                  <a:lnTo>
                    <a:pt x="58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1079" y="397"/>
              <a:ext cx="145" cy="116"/>
            </a:xfrm>
            <a:custGeom>
              <a:avLst/>
              <a:gdLst>
                <a:gd name="T0" fmla="*/ 99 w 145"/>
                <a:gd name="T1" fmla="*/ 32 h 116"/>
                <a:gd name="T2" fmla="*/ 99 w 145"/>
                <a:gd name="T3" fmla="*/ 27 h 116"/>
                <a:gd name="T4" fmla="*/ 96 w 145"/>
                <a:gd name="T5" fmla="*/ 21 h 116"/>
                <a:gd name="T6" fmla="*/ 90 w 145"/>
                <a:gd name="T7" fmla="*/ 20 h 116"/>
                <a:gd name="T8" fmla="*/ 77 w 145"/>
                <a:gd name="T9" fmla="*/ 23 h 116"/>
                <a:gd name="T10" fmla="*/ 70 w 145"/>
                <a:gd name="T11" fmla="*/ 29 h 116"/>
                <a:gd name="T12" fmla="*/ 70 w 145"/>
                <a:gd name="T13" fmla="*/ 32 h 116"/>
                <a:gd name="T14" fmla="*/ 75 w 145"/>
                <a:gd name="T15" fmla="*/ 40 h 116"/>
                <a:gd name="T16" fmla="*/ 90 w 145"/>
                <a:gd name="T17" fmla="*/ 45 h 116"/>
                <a:gd name="T18" fmla="*/ 118 w 145"/>
                <a:gd name="T19" fmla="*/ 53 h 116"/>
                <a:gd name="T20" fmla="*/ 130 w 145"/>
                <a:gd name="T21" fmla="*/ 63 h 116"/>
                <a:gd name="T22" fmla="*/ 134 w 145"/>
                <a:gd name="T23" fmla="*/ 74 h 116"/>
                <a:gd name="T24" fmla="*/ 132 w 145"/>
                <a:gd name="T25" fmla="*/ 82 h 116"/>
                <a:gd name="T26" fmla="*/ 121 w 145"/>
                <a:gd name="T27" fmla="*/ 96 h 116"/>
                <a:gd name="T28" fmla="*/ 105 w 145"/>
                <a:gd name="T29" fmla="*/ 107 h 116"/>
                <a:gd name="T30" fmla="*/ 83 w 145"/>
                <a:gd name="T31" fmla="*/ 115 h 116"/>
                <a:gd name="T32" fmla="*/ 53 w 145"/>
                <a:gd name="T33" fmla="*/ 116 h 116"/>
                <a:gd name="T34" fmla="*/ 28 w 145"/>
                <a:gd name="T35" fmla="*/ 115 h 116"/>
                <a:gd name="T36" fmla="*/ 10 w 145"/>
                <a:gd name="T37" fmla="*/ 109 h 116"/>
                <a:gd name="T38" fmla="*/ 0 w 145"/>
                <a:gd name="T39" fmla="*/ 100 h 116"/>
                <a:gd name="T40" fmla="*/ 2 w 145"/>
                <a:gd name="T41" fmla="*/ 85 h 116"/>
                <a:gd name="T42" fmla="*/ 50 w 145"/>
                <a:gd name="T43" fmla="*/ 82 h 116"/>
                <a:gd name="T44" fmla="*/ 50 w 145"/>
                <a:gd name="T45" fmla="*/ 84 h 116"/>
                <a:gd name="T46" fmla="*/ 50 w 145"/>
                <a:gd name="T47" fmla="*/ 93 h 116"/>
                <a:gd name="T48" fmla="*/ 61 w 145"/>
                <a:gd name="T49" fmla="*/ 96 h 116"/>
                <a:gd name="T50" fmla="*/ 68 w 145"/>
                <a:gd name="T51" fmla="*/ 96 h 116"/>
                <a:gd name="T52" fmla="*/ 77 w 145"/>
                <a:gd name="T53" fmla="*/ 91 h 116"/>
                <a:gd name="T54" fmla="*/ 81 w 145"/>
                <a:gd name="T55" fmla="*/ 85 h 116"/>
                <a:gd name="T56" fmla="*/ 79 w 145"/>
                <a:gd name="T57" fmla="*/ 78 h 116"/>
                <a:gd name="T58" fmla="*/ 72 w 145"/>
                <a:gd name="T59" fmla="*/ 74 h 116"/>
                <a:gd name="T60" fmla="*/ 48 w 145"/>
                <a:gd name="T61" fmla="*/ 67 h 116"/>
                <a:gd name="T62" fmla="*/ 26 w 145"/>
                <a:gd name="T63" fmla="*/ 56 h 116"/>
                <a:gd name="T64" fmla="*/ 21 w 145"/>
                <a:gd name="T65" fmla="*/ 47 h 116"/>
                <a:gd name="T66" fmla="*/ 22 w 145"/>
                <a:gd name="T67" fmla="*/ 34 h 116"/>
                <a:gd name="T68" fmla="*/ 26 w 145"/>
                <a:gd name="T69" fmla="*/ 27 h 116"/>
                <a:gd name="T70" fmla="*/ 37 w 145"/>
                <a:gd name="T71" fmla="*/ 14 h 116"/>
                <a:gd name="T72" fmla="*/ 55 w 145"/>
                <a:gd name="T73" fmla="*/ 5 h 116"/>
                <a:gd name="T74" fmla="*/ 81 w 145"/>
                <a:gd name="T75" fmla="*/ 0 h 116"/>
                <a:gd name="T76" fmla="*/ 96 w 145"/>
                <a:gd name="T77" fmla="*/ 0 h 116"/>
                <a:gd name="T78" fmla="*/ 121 w 145"/>
                <a:gd name="T79" fmla="*/ 1 h 116"/>
                <a:gd name="T80" fmla="*/ 139 w 145"/>
                <a:gd name="T81" fmla="*/ 9 h 116"/>
                <a:gd name="T82" fmla="*/ 145 w 145"/>
                <a:gd name="T83" fmla="*/ 20 h 116"/>
                <a:gd name="T84" fmla="*/ 143 w 145"/>
                <a:gd name="T85" fmla="*/ 34 h 1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5" h="116">
                  <a:moveTo>
                    <a:pt x="97" y="34"/>
                  </a:moveTo>
                  <a:lnTo>
                    <a:pt x="99" y="32"/>
                  </a:lnTo>
                  <a:lnTo>
                    <a:pt x="99" y="27"/>
                  </a:lnTo>
                  <a:lnTo>
                    <a:pt x="99" y="23"/>
                  </a:lnTo>
                  <a:lnTo>
                    <a:pt x="96" y="21"/>
                  </a:lnTo>
                  <a:lnTo>
                    <a:pt x="90" y="20"/>
                  </a:lnTo>
                  <a:lnTo>
                    <a:pt x="83" y="20"/>
                  </a:lnTo>
                  <a:lnTo>
                    <a:pt x="77" y="23"/>
                  </a:lnTo>
                  <a:lnTo>
                    <a:pt x="74" y="25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72" y="36"/>
                  </a:lnTo>
                  <a:lnTo>
                    <a:pt x="75" y="40"/>
                  </a:lnTo>
                  <a:lnTo>
                    <a:pt x="79" y="42"/>
                  </a:lnTo>
                  <a:lnTo>
                    <a:pt x="90" y="45"/>
                  </a:lnTo>
                  <a:lnTo>
                    <a:pt x="105" y="49"/>
                  </a:lnTo>
                  <a:lnTo>
                    <a:pt x="118" y="53"/>
                  </a:lnTo>
                  <a:lnTo>
                    <a:pt x="127" y="60"/>
                  </a:lnTo>
                  <a:lnTo>
                    <a:pt x="130" y="63"/>
                  </a:lnTo>
                  <a:lnTo>
                    <a:pt x="134" y="69"/>
                  </a:lnTo>
                  <a:lnTo>
                    <a:pt x="134" y="74"/>
                  </a:lnTo>
                  <a:lnTo>
                    <a:pt x="132" y="82"/>
                  </a:lnTo>
                  <a:lnTo>
                    <a:pt x="128" y="91"/>
                  </a:lnTo>
                  <a:lnTo>
                    <a:pt x="121" y="96"/>
                  </a:lnTo>
                  <a:lnTo>
                    <a:pt x="114" y="104"/>
                  </a:lnTo>
                  <a:lnTo>
                    <a:pt x="105" y="107"/>
                  </a:lnTo>
                  <a:lnTo>
                    <a:pt x="96" y="111"/>
                  </a:lnTo>
                  <a:lnTo>
                    <a:pt x="83" y="115"/>
                  </a:lnTo>
                  <a:lnTo>
                    <a:pt x="68" y="116"/>
                  </a:lnTo>
                  <a:lnTo>
                    <a:pt x="53" y="116"/>
                  </a:lnTo>
                  <a:lnTo>
                    <a:pt x="28" y="115"/>
                  </a:lnTo>
                  <a:lnTo>
                    <a:pt x="17" y="113"/>
                  </a:lnTo>
                  <a:lnTo>
                    <a:pt x="10" y="109"/>
                  </a:lnTo>
                  <a:lnTo>
                    <a:pt x="4" y="105"/>
                  </a:lnTo>
                  <a:lnTo>
                    <a:pt x="0" y="100"/>
                  </a:lnTo>
                  <a:lnTo>
                    <a:pt x="0" y="93"/>
                  </a:lnTo>
                  <a:lnTo>
                    <a:pt x="2" y="85"/>
                  </a:lnTo>
                  <a:lnTo>
                    <a:pt x="2" y="82"/>
                  </a:lnTo>
                  <a:lnTo>
                    <a:pt x="50" y="82"/>
                  </a:lnTo>
                  <a:lnTo>
                    <a:pt x="50" y="84"/>
                  </a:lnTo>
                  <a:lnTo>
                    <a:pt x="48" y="89"/>
                  </a:lnTo>
                  <a:lnTo>
                    <a:pt x="50" y="93"/>
                  </a:lnTo>
                  <a:lnTo>
                    <a:pt x="53" y="96"/>
                  </a:lnTo>
                  <a:lnTo>
                    <a:pt x="61" y="96"/>
                  </a:lnTo>
                  <a:lnTo>
                    <a:pt x="68" y="96"/>
                  </a:lnTo>
                  <a:lnTo>
                    <a:pt x="74" y="93"/>
                  </a:lnTo>
                  <a:lnTo>
                    <a:pt x="77" y="91"/>
                  </a:lnTo>
                  <a:lnTo>
                    <a:pt x="81" y="85"/>
                  </a:lnTo>
                  <a:lnTo>
                    <a:pt x="81" y="82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2" y="74"/>
                  </a:lnTo>
                  <a:lnTo>
                    <a:pt x="61" y="71"/>
                  </a:lnTo>
                  <a:lnTo>
                    <a:pt x="48" y="67"/>
                  </a:lnTo>
                  <a:lnTo>
                    <a:pt x="35" y="63"/>
                  </a:lnTo>
                  <a:lnTo>
                    <a:pt x="26" y="56"/>
                  </a:lnTo>
                  <a:lnTo>
                    <a:pt x="22" y="53"/>
                  </a:lnTo>
                  <a:lnTo>
                    <a:pt x="21" y="47"/>
                  </a:lnTo>
                  <a:lnTo>
                    <a:pt x="21" y="42"/>
                  </a:lnTo>
                  <a:lnTo>
                    <a:pt x="22" y="34"/>
                  </a:lnTo>
                  <a:lnTo>
                    <a:pt x="26" y="27"/>
                  </a:lnTo>
                  <a:lnTo>
                    <a:pt x="32" y="20"/>
                  </a:lnTo>
                  <a:lnTo>
                    <a:pt x="37" y="14"/>
                  </a:lnTo>
                  <a:lnTo>
                    <a:pt x="46" y="9"/>
                  </a:lnTo>
                  <a:lnTo>
                    <a:pt x="55" y="5"/>
                  </a:lnTo>
                  <a:lnTo>
                    <a:pt x="68" y="1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110" y="0"/>
                  </a:lnTo>
                  <a:lnTo>
                    <a:pt x="121" y="1"/>
                  </a:lnTo>
                  <a:lnTo>
                    <a:pt x="132" y="5"/>
                  </a:lnTo>
                  <a:lnTo>
                    <a:pt x="139" y="9"/>
                  </a:lnTo>
                  <a:lnTo>
                    <a:pt x="143" y="12"/>
                  </a:lnTo>
                  <a:lnTo>
                    <a:pt x="145" y="20"/>
                  </a:lnTo>
                  <a:lnTo>
                    <a:pt x="145" y="25"/>
                  </a:lnTo>
                  <a:lnTo>
                    <a:pt x="143" y="34"/>
                  </a:lnTo>
                  <a:lnTo>
                    <a:pt x="97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 userDrawn="1"/>
          </p:nvSpPr>
          <p:spPr bwMode="auto">
            <a:xfrm>
              <a:off x="1197" y="398"/>
              <a:ext cx="148" cy="114"/>
            </a:xfrm>
            <a:custGeom>
              <a:avLst/>
              <a:gdLst>
                <a:gd name="T0" fmla="*/ 55 w 151"/>
                <a:gd name="T1" fmla="*/ 0 h 114"/>
                <a:gd name="T2" fmla="*/ 71 w 151"/>
                <a:gd name="T3" fmla="*/ 0 h 114"/>
                <a:gd name="T4" fmla="*/ 73 w 151"/>
                <a:gd name="T5" fmla="*/ 114 h 114"/>
                <a:gd name="T6" fmla="*/ 55 w 151"/>
                <a:gd name="T7" fmla="*/ 114 h 114"/>
                <a:gd name="T8" fmla="*/ 55 w 151"/>
                <a:gd name="T9" fmla="*/ 93 h 114"/>
                <a:gd name="T10" fmla="*/ 44 w 151"/>
                <a:gd name="T11" fmla="*/ 93 h 114"/>
                <a:gd name="T12" fmla="*/ 31 w 151"/>
                <a:gd name="T13" fmla="*/ 114 h 114"/>
                <a:gd name="T14" fmla="*/ 0 w 151"/>
                <a:gd name="T15" fmla="*/ 114 h 114"/>
                <a:gd name="T16" fmla="*/ 55 w 151"/>
                <a:gd name="T17" fmla="*/ 0 h 114"/>
                <a:gd name="T18" fmla="*/ 55 w 151"/>
                <a:gd name="T19" fmla="*/ 24 h 114"/>
                <a:gd name="T20" fmla="*/ 55 w 151"/>
                <a:gd name="T21" fmla="*/ 24 h 114"/>
                <a:gd name="T22" fmla="*/ 55 w 151"/>
                <a:gd name="T23" fmla="*/ 72 h 114"/>
                <a:gd name="T24" fmla="*/ 55 w 151"/>
                <a:gd name="T25" fmla="*/ 72 h 114"/>
                <a:gd name="T26" fmla="*/ 55 w 151"/>
                <a:gd name="T27" fmla="*/ 24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1" h="114">
                  <a:moveTo>
                    <a:pt x="85" y="0"/>
                  </a:moveTo>
                  <a:lnTo>
                    <a:pt x="146" y="0"/>
                  </a:lnTo>
                  <a:lnTo>
                    <a:pt x="151" y="114"/>
                  </a:lnTo>
                  <a:lnTo>
                    <a:pt x="100" y="114"/>
                  </a:lnTo>
                  <a:lnTo>
                    <a:pt x="102" y="93"/>
                  </a:lnTo>
                  <a:lnTo>
                    <a:pt x="64" y="93"/>
                  </a:lnTo>
                  <a:lnTo>
                    <a:pt x="51" y="114"/>
                  </a:lnTo>
                  <a:lnTo>
                    <a:pt x="0" y="114"/>
                  </a:lnTo>
                  <a:lnTo>
                    <a:pt x="85" y="0"/>
                  </a:lnTo>
                  <a:close/>
                  <a:moveTo>
                    <a:pt x="107" y="24"/>
                  </a:moveTo>
                  <a:lnTo>
                    <a:pt x="107" y="24"/>
                  </a:lnTo>
                  <a:lnTo>
                    <a:pt x="76" y="72"/>
                  </a:lnTo>
                  <a:lnTo>
                    <a:pt x="104" y="72"/>
                  </a:lnTo>
                  <a:lnTo>
                    <a:pt x="107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1356" y="398"/>
              <a:ext cx="170" cy="114"/>
            </a:xfrm>
            <a:custGeom>
              <a:avLst/>
              <a:gdLst>
                <a:gd name="T0" fmla="*/ 38 w 170"/>
                <a:gd name="T1" fmla="*/ 0 h 114"/>
                <a:gd name="T2" fmla="*/ 93 w 170"/>
                <a:gd name="T3" fmla="*/ 0 h 114"/>
                <a:gd name="T4" fmla="*/ 100 w 170"/>
                <a:gd name="T5" fmla="*/ 70 h 114"/>
                <a:gd name="T6" fmla="*/ 100 w 170"/>
                <a:gd name="T7" fmla="*/ 70 h 114"/>
                <a:gd name="T8" fmla="*/ 124 w 170"/>
                <a:gd name="T9" fmla="*/ 0 h 114"/>
                <a:gd name="T10" fmla="*/ 170 w 170"/>
                <a:gd name="T11" fmla="*/ 0 h 114"/>
                <a:gd name="T12" fmla="*/ 131 w 170"/>
                <a:gd name="T13" fmla="*/ 114 h 114"/>
                <a:gd name="T14" fmla="*/ 76 w 170"/>
                <a:gd name="T15" fmla="*/ 114 h 114"/>
                <a:gd name="T16" fmla="*/ 69 w 170"/>
                <a:gd name="T17" fmla="*/ 44 h 114"/>
                <a:gd name="T18" fmla="*/ 69 w 170"/>
                <a:gd name="T19" fmla="*/ 44 h 114"/>
                <a:gd name="T20" fmla="*/ 44 w 170"/>
                <a:gd name="T21" fmla="*/ 114 h 114"/>
                <a:gd name="T22" fmla="*/ 0 w 170"/>
                <a:gd name="T23" fmla="*/ 114 h 114"/>
                <a:gd name="T24" fmla="*/ 38 w 170"/>
                <a:gd name="T25" fmla="*/ 0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70" h="114">
                  <a:moveTo>
                    <a:pt x="38" y="0"/>
                  </a:moveTo>
                  <a:lnTo>
                    <a:pt x="93" y="0"/>
                  </a:lnTo>
                  <a:lnTo>
                    <a:pt x="100" y="70"/>
                  </a:lnTo>
                  <a:lnTo>
                    <a:pt x="124" y="0"/>
                  </a:lnTo>
                  <a:lnTo>
                    <a:pt x="170" y="0"/>
                  </a:lnTo>
                  <a:lnTo>
                    <a:pt x="131" y="114"/>
                  </a:lnTo>
                  <a:lnTo>
                    <a:pt x="76" y="114"/>
                  </a:lnTo>
                  <a:lnTo>
                    <a:pt x="69" y="44"/>
                  </a:lnTo>
                  <a:lnTo>
                    <a:pt x="44" y="114"/>
                  </a:lnTo>
                  <a:lnTo>
                    <a:pt x="0" y="11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</p:grpSp>
      <p:pic>
        <p:nvPicPr>
          <p:cNvPr id="17" name="그림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8" t="25516" r="68169" b="64542"/>
          <a:stretch>
            <a:fillRect/>
          </a:stretch>
        </p:blipFill>
        <p:spPr bwMode="auto">
          <a:xfrm>
            <a:off x="918017" y="5722939"/>
            <a:ext cx="2877933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99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67254" y="3313113"/>
            <a:ext cx="7364777" cy="369332"/>
          </a:xfr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2099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68841" y="3819525"/>
            <a:ext cx="6934358" cy="427038"/>
          </a:xfrm>
          <a:ln algn="ctr"/>
        </p:spPr>
        <p:txBody>
          <a:bodyPr/>
          <a:lstStyle>
            <a:lvl1pPr>
              <a:defRPr sz="28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2213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2948" y="800100"/>
            <a:ext cx="9161104" cy="107721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A6F7DC4D-02A9-4B3F-89FC-B4F0AF40EFF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724951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3015" y="4406901"/>
            <a:ext cx="8419384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3015" y="4099123"/>
            <a:ext cx="8419384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0C2F4AC1-1B9A-448A-A0D4-55BFDA0E2BD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250258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/>
        </p:nvSpPr>
        <p:spPr bwMode="auto">
          <a:xfrm>
            <a:off x="918757" y="4659690"/>
            <a:ext cx="8669444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lIns="82876" tIns="41438" rIns="82876" bIns="414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dirty="0">
              <a:solidFill>
                <a:srgbClr val="333333"/>
              </a:solidFill>
            </a:endParaRPr>
          </a:p>
        </p:txBody>
      </p:sp>
      <p:sp>
        <p:nvSpPr>
          <p:cNvPr id="3" name="Freeform 5"/>
          <p:cNvSpPr>
            <a:spLocks/>
          </p:cNvSpPr>
          <p:nvPr/>
        </p:nvSpPr>
        <p:spPr bwMode="auto">
          <a:xfrm>
            <a:off x="8842656" y="2103060"/>
            <a:ext cx="1064853" cy="3622524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lIns="82876" tIns="41438" rIns="82876" bIns="414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dirty="0">
              <a:solidFill>
                <a:srgbClr val="333333"/>
              </a:solidFill>
            </a:endParaRPr>
          </a:p>
        </p:txBody>
      </p:sp>
      <p:sp>
        <p:nvSpPr>
          <p:cNvPr id="4" name="Freeform 6"/>
          <p:cNvSpPr>
            <a:spLocks/>
          </p:cNvSpPr>
          <p:nvPr/>
        </p:nvSpPr>
        <p:spPr bwMode="auto">
          <a:xfrm>
            <a:off x="8884833" y="2183198"/>
            <a:ext cx="1021175" cy="3500060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lIns="82876" tIns="41438" rIns="82876" bIns="414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dirty="0">
              <a:solidFill>
                <a:srgbClr val="333333"/>
              </a:solidFill>
            </a:endParaRPr>
          </a:p>
        </p:txBody>
      </p:sp>
      <p:pic>
        <p:nvPicPr>
          <p:cNvPr id="6" name="Picture 1" descr="C:\Users\hank\Desktop\bg_0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1034" y="428604"/>
            <a:ext cx="1561427" cy="642942"/>
          </a:xfrm>
          <a:prstGeom prst="rect">
            <a:avLst/>
          </a:prstGeom>
          <a:noFill/>
        </p:spPr>
      </p:pic>
      <p:pic>
        <p:nvPicPr>
          <p:cNvPr id="7" name="Picture 2" descr="D:\0_DICC_DooCC_2012\2_계약자료\DooCC확산_SOW_Kickoff\bg_01.png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24438" y="5352101"/>
            <a:ext cx="4881562" cy="1505898"/>
          </a:xfrm>
          <a:prstGeom prst="rect">
            <a:avLst/>
          </a:prstGeom>
          <a:noFill/>
        </p:spPr>
      </p:pic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12949" y="800100"/>
            <a:ext cx="4504315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69737" y="800100"/>
            <a:ext cx="4504315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9F74BD4D-D456-410E-B64E-E6183B9CEC1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2528144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538" y="274638"/>
            <a:ext cx="8914924" cy="292388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538" y="1436211"/>
            <a:ext cx="4377254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538" y="2174875"/>
            <a:ext cx="4377254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1619" y="1436211"/>
            <a:ext cx="437884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1619" y="2174875"/>
            <a:ext cx="437884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FB4D4F85-62F3-4259-909A-2C98786176B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762596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2650686D-2CAB-418E-8679-07332C587E2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151415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BC9B00C1-53FE-4A82-8458-397EDEF5591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2152281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538" y="1127323"/>
            <a:ext cx="325911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187" y="273051"/>
            <a:ext cx="5538275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538" y="1435101"/>
            <a:ext cx="325911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0CE53868-3B67-4402-AC06-96CE80FA0C6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8890459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0858" y="5059561"/>
            <a:ext cx="5944871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0858" y="612775"/>
            <a:ext cx="5944871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0858" y="5367338"/>
            <a:ext cx="5944871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D33792D6-168A-411B-BA33-5440263FC79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914068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7850503" y="800100"/>
            <a:ext cx="1723549" cy="1292662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670CE2C5-C2B4-4C7C-8040-A195A6499A4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428504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989278" y="333376"/>
            <a:ext cx="584775" cy="174307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623199" y="333376"/>
            <a:ext cx="1508105" cy="174307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6E4FA44C-AC74-44A4-957F-8DA777FF779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6635705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2949" y="333376"/>
            <a:ext cx="8605212" cy="29238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12949" y="800100"/>
            <a:ext cx="4504315" cy="107721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69737" y="800100"/>
            <a:ext cx="4504315" cy="107721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43000805-EE6A-4276-9AB5-82FE988A741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7648981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2949" y="333376"/>
            <a:ext cx="8605212" cy="29238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12948" y="800100"/>
            <a:ext cx="9161104" cy="215444"/>
          </a:xfr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 </a:t>
            </a:r>
            <a:fld id="{2652074B-89DD-4BFA-81E7-2FFA9B605CD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30950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8" y="357166"/>
            <a:ext cx="8915400" cy="571504"/>
          </a:xfrm>
          <a:prstGeom prst="rect">
            <a:avLst/>
          </a:prstGeom>
        </p:spPr>
        <p:txBody>
          <a:bodyPr lIns="82876" tIns="41438" rIns="82876" bIns="41438"/>
          <a:lstStyle>
            <a:lvl1pPr>
              <a:defRPr sz="200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8" y="1000108"/>
            <a:ext cx="8915400" cy="5500726"/>
          </a:xfrm>
          <a:prstGeom prst="rect">
            <a:avLst/>
          </a:prstGeom>
        </p:spPr>
        <p:txBody>
          <a:bodyPr lIns="82876" tIns="41438" rIns="82876" bIns="41438"/>
          <a:lstStyle>
            <a:lvl1pPr marL="266533" indent="-266533">
              <a:lnSpc>
                <a:spcPct val="150000"/>
              </a:lnSpc>
              <a:buFont typeface="Wingdings" pitchFamily="2" charset="2"/>
              <a:buChar char="n"/>
              <a:defRPr sz="1800" b="1"/>
            </a:lvl1pPr>
            <a:lvl2pPr marL="442913" indent="-180975">
              <a:lnSpc>
                <a:spcPct val="150000"/>
              </a:lnSpc>
              <a:buFont typeface="Wingdings" pitchFamily="2" charset="2"/>
              <a:buChar char="ü"/>
              <a:defRPr sz="1600"/>
            </a:lvl2pPr>
            <a:lvl3pPr marL="622300" indent="-176213">
              <a:lnSpc>
                <a:spcPct val="150000"/>
              </a:lnSpc>
              <a:defRPr/>
            </a:lvl3pPr>
            <a:lvl4pPr marL="895350" indent="-211138">
              <a:lnSpc>
                <a:spcPct val="150000"/>
              </a:lnSpc>
              <a:defRPr/>
            </a:lvl4pPr>
            <a:lvl5pPr marL="1073150" indent="-211138">
              <a:lnSpc>
                <a:spcPct val="150000"/>
              </a:lnSpc>
              <a:defRPr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0" y="6441428"/>
            <a:ext cx="9906000" cy="302915"/>
          </a:xfrm>
        </p:spPr>
        <p:txBody>
          <a:bodyPr/>
          <a:lstStyle>
            <a:lvl1pPr>
              <a:defRPr sz="1100"/>
            </a:lvl1pPr>
          </a:lstStyle>
          <a:p>
            <a:fld id="{1E99953E-96F7-4C01-8FC6-E8CE844CA5F6}" type="slidenum">
              <a:rPr lang="ko-KR" altLang="en-US" smtClean="0">
                <a:solidFill>
                  <a:srgbClr val="333333"/>
                </a:solidFill>
              </a:rPr>
              <a:pPr/>
              <a:t>‹#›</a:t>
            </a:fld>
            <a:endParaRPr lang="ko-KR" altLang="en-US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968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8840788" y="2103438"/>
            <a:ext cx="1066800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sp>
        <p:nvSpPr>
          <p:cNvPr id="6" name="Freeform 18"/>
          <p:cNvSpPr>
            <a:spLocks/>
          </p:cNvSpPr>
          <p:nvPr/>
        </p:nvSpPr>
        <p:spPr bwMode="auto">
          <a:xfrm>
            <a:off x="8883650" y="2182813"/>
            <a:ext cx="1022350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/>
          </a:p>
        </p:txBody>
      </p:sp>
      <p:pic>
        <p:nvPicPr>
          <p:cNvPr id="7" name="Picture 20" descr="중공업"/>
          <p:cNvPicPr>
            <a:picLocks noChangeAspect="1" noChangeArrowheads="1"/>
          </p:cNvPicPr>
          <p:nvPr userDrawn="1"/>
        </p:nvPicPr>
        <p:blipFill>
          <a:blip r:embed="rId2" cstate="print"/>
          <a:srcRect r="22075"/>
          <a:stretch>
            <a:fillRect/>
          </a:stretch>
        </p:blipFill>
        <p:spPr bwMode="auto">
          <a:xfrm>
            <a:off x="3175" y="0"/>
            <a:ext cx="7716838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66788" y="3313113"/>
            <a:ext cx="7366000" cy="366712"/>
          </a:xfrm>
          <a:prstGeom prst="rect">
            <a:avLst/>
          </a:prstGeo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68375" y="3819525"/>
            <a:ext cx="6934200" cy="365125"/>
          </a:xfrm>
          <a:prstGeom prst="rect">
            <a:avLst/>
          </a:prstGeom>
          <a:ln algn="ctr"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398" y="1412776"/>
            <a:ext cx="6075984" cy="3237751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392" y="5800150"/>
            <a:ext cx="1296144" cy="910582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904" y="1527885"/>
            <a:ext cx="911214" cy="8209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968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defTabSz="9144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8840788" y="2103438"/>
            <a:ext cx="1066800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r" defTabSz="9144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6" name="Freeform 18"/>
          <p:cNvSpPr>
            <a:spLocks/>
          </p:cNvSpPr>
          <p:nvPr/>
        </p:nvSpPr>
        <p:spPr bwMode="auto">
          <a:xfrm>
            <a:off x="8883650" y="2182813"/>
            <a:ext cx="1022350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r" defTabSz="9144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pic>
        <p:nvPicPr>
          <p:cNvPr id="7" name="Picture 20" descr="중공업"/>
          <p:cNvPicPr>
            <a:picLocks noChangeAspect="1" noChangeArrowheads="1"/>
          </p:cNvPicPr>
          <p:nvPr userDrawn="1"/>
        </p:nvPicPr>
        <p:blipFill>
          <a:blip r:embed="rId2" cstate="print"/>
          <a:srcRect r="22075"/>
          <a:stretch>
            <a:fillRect/>
          </a:stretch>
        </p:blipFill>
        <p:spPr bwMode="auto">
          <a:xfrm>
            <a:off x="3175" y="0"/>
            <a:ext cx="7716838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66788" y="3313113"/>
            <a:ext cx="7366000" cy="366712"/>
          </a:xfr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68375" y="3819525"/>
            <a:ext cx="6934200" cy="365125"/>
          </a:xfrm>
          <a:ln algn="ctr"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392" y="5800150"/>
            <a:ext cx="1296144" cy="910582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398" y="1412776"/>
            <a:ext cx="6075984" cy="3237751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904" y="1527885"/>
            <a:ext cx="911214" cy="820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0484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3" y="214290"/>
            <a:ext cx="8799512" cy="496869"/>
          </a:xfrm>
        </p:spPr>
        <p:txBody>
          <a:bodyPr anchor="b">
            <a:noAutofit/>
          </a:bodyPr>
          <a:lstStyle>
            <a:lvl1pPr>
              <a:defRPr sz="200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31813" y="1052736"/>
            <a:ext cx="8850312" cy="5329014"/>
          </a:xfrm>
        </p:spPr>
        <p:txBody>
          <a:bodyPr>
            <a:normAutofit/>
          </a:bodyPr>
          <a:lstStyle>
            <a:lvl1pPr marL="182563" indent="-182563">
              <a:lnSpc>
                <a:spcPct val="150000"/>
              </a:lnSpc>
              <a:buFont typeface="Arial" pitchFamily="34" charset="0"/>
              <a:buChar char="■"/>
              <a:defRPr sz="1800"/>
            </a:lvl1pPr>
            <a:lvl2pPr marL="447675" indent="-125413">
              <a:lnSpc>
                <a:spcPct val="150000"/>
              </a:lnSpc>
              <a:defRPr sz="1600"/>
            </a:lvl2pPr>
            <a:lvl3pPr marL="803275" indent="-173038">
              <a:lnSpc>
                <a:spcPct val="150000"/>
              </a:lnSpc>
              <a:defRPr sz="1100"/>
            </a:lvl3pPr>
            <a:lvl4pPr marL="985838" indent="-173038">
              <a:lnSpc>
                <a:spcPct val="150000"/>
              </a:lnSpc>
              <a:defRPr sz="1100"/>
            </a:lvl4pPr>
            <a:lvl5pPr marL="985838" indent="-173038">
              <a:lnSpc>
                <a:spcPct val="150000"/>
              </a:lnSpc>
              <a:defRPr sz="1100"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F7247A-2246-4DE6-8158-61A00295EE1C}" type="slidenum">
              <a:rPr lang="ko-KR" altLang="en-US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17562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TMS_img_01.png"/>
          <p:cNvPicPr>
            <a:picLocks noChangeAspect="1"/>
          </p:cNvPicPr>
          <p:nvPr userDrawn="1"/>
        </p:nvPicPr>
        <p:blipFill>
          <a:blip r:embed="rId2" cstate="print">
            <a:lum bright="20000"/>
          </a:blip>
          <a:stretch>
            <a:fillRect/>
          </a:stretch>
        </p:blipFill>
        <p:spPr>
          <a:xfrm>
            <a:off x="4780019" y="2348880"/>
            <a:ext cx="5429565" cy="5040000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0" y="2285992"/>
            <a:ext cx="9906000" cy="1285884"/>
          </a:xfrm>
        </p:spPr>
        <p:txBody>
          <a:bodyPr anchor="b">
            <a:noAutofit/>
          </a:bodyPr>
          <a:lstStyle>
            <a:lvl1pPr algn="ctr">
              <a:defRPr sz="6600" b="0" cap="all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09530" y="4572008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A6A219-7D30-475A-AA62-47FCB0E39369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666551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1813" y="1711325"/>
            <a:ext cx="4322762" cy="1095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6975" y="1711325"/>
            <a:ext cx="4324350" cy="1095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E78276-8435-4D1C-B669-DC847779AA9F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32879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56FA7-2265-4290-9C01-1484CA2FC519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63681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Line 3"/>
          <p:cNvSpPr>
            <a:spLocks noChangeShapeType="1"/>
          </p:cNvSpPr>
          <p:nvPr/>
        </p:nvSpPr>
        <p:spPr bwMode="auto">
          <a:xfrm>
            <a:off x="354013" y="778631"/>
            <a:ext cx="9175513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lIns="82876" tIns="41438" rIns="82876" bIns="4143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dirty="0">
              <a:solidFill>
                <a:srgbClr val="333333"/>
              </a:solidFill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9577659" y="7561"/>
            <a:ext cx="328342" cy="1109738"/>
            <a:chOff x="6033" y="5"/>
            <a:chExt cx="207" cy="699"/>
          </a:xfrm>
        </p:grpSpPr>
        <p:sp>
          <p:nvSpPr>
            <p:cNvPr id="3077" name="Freeform 5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1100" dirty="0">
                <a:solidFill>
                  <a:srgbClr val="333333"/>
                </a:solidFill>
              </a:endParaRPr>
            </a:p>
          </p:txBody>
        </p:sp>
        <p:sp>
          <p:nvSpPr>
            <p:cNvPr id="3078" name="Freeform 6"/>
            <p:cNvSpPr>
              <a:spLocks/>
            </p:cNvSpPr>
            <p:nvPr userDrawn="1"/>
          </p:nvSpPr>
          <p:spPr bwMode="auto">
            <a:xfrm>
              <a:off x="6048" y="43"/>
              <a:ext cx="192" cy="64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1100" dirty="0">
                <a:solidFill>
                  <a:srgbClr val="333333"/>
                </a:solidFill>
              </a:endParaRPr>
            </a:p>
          </p:txBody>
        </p:sp>
      </p:grpSp>
      <p:sp>
        <p:nvSpPr>
          <p:cNvPr id="10" name="Rectangle 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164971" y="6422433"/>
            <a:ext cx="2063436" cy="302915"/>
          </a:xfrm>
          <a:prstGeom prst="rect">
            <a:avLst/>
          </a:prstGeom>
          <a:ln/>
        </p:spPr>
        <p:txBody>
          <a:bodyPr lIns="82876" tIns="41438" rIns="82876" bIns="41438"/>
          <a:lstStyle>
            <a:lvl1pPr algn="ctr"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4AF66F-F260-4D9A-9FBC-489A4BE5243F}" type="slidenum">
              <a:rPr kumimoji="1" lang="en-US" altLang="ko-KR" smtClean="0">
                <a:solidFill>
                  <a:srgbClr val="33333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altLang="ko-KR">
              <a:solidFill>
                <a:srgbClr val="333333"/>
              </a:solidFill>
            </a:endParaRPr>
          </a:p>
        </p:txBody>
      </p:sp>
      <p:pic>
        <p:nvPicPr>
          <p:cNvPr id="11" name="그림 10" descr="DICC_DSIC_fullname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17986" y="6417376"/>
            <a:ext cx="2890798" cy="396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61" r:id="rId2"/>
    <p:sldLayoutId id="2147483667" r:id="rId3"/>
    <p:sldLayoutId id="2147483674" r:id="rId4"/>
  </p:sldLayoutIdLst>
  <p:transition/>
  <p:txStyles>
    <p:titleStyle>
      <a:lvl1pPr algn="l" defTabSz="871919" rtl="0" eaLnBrk="0" fontAlgn="base" latinLnBrk="1" hangingPunct="0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1919" rtl="0" eaLnBrk="0" fontAlgn="base" latinLnBrk="1" hangingPunct="0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2pPr>
      <a:lvl3pPr algn="l" defTabSz="871919" rtl="0" eaLnBrk="0" fontAlgn="base" latinLnBrk="1" hangingPunct="0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3pPr>
      <a:lvl4pPr algn="l" defTabSz="871919" rtl="0" eaLnBrk="0" fontAlgn="base" latinLnBrk="1" hangingPunct="0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4pPr>
      <a:lvl5pPr algn="l" defTabSz="871919" rtl="0" eaLnBrk="0" fontAlgn="base" latinLnBrk="1" hangingPunct="0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5pPr>
      <a:lvl6pPr marL="414377" algn="l" defTabSz="871919" rtl="0" fontAlgn="base" latinLnBrk="1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6pPr>
      <a:lvl7pPr marL="828754" algn="l" defTabSz="871919" rtl="0" fontAlgn="base" latinLnBrk="1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7pPr>
      <a:lvl8pPr marL="1243131" algn="l" defTabSz="871919" rtl="0" fontAlgn="base" latinLnBrk="1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8pPr>
      <a:lvl9pPr marL="1657510" algn="l" defTabSz="871919" rtl="0" fontAlgn="base" latinLnBrk="1">
        <a:spcBef>
          <a:spcPct val="0"/>
        </a:spcBef>
        <a:spcAft>
          <a:spcPct val="0"/>
        </a:spcAft>
        <a:defRPr kumimoji="1" sz="1800" b="1">
          <a:solidFill>
            <a:schemeClr val="tx1"/>
          </a:solidFill>
          <a:latin typeface="윤고딕130" pitchFamily="18" charset="-127"/>
          <a:ea typeface="윤고딕130" pitchFamily="18" charset="-127"/>
        </a:defRPr>
      </a:lvl9pPr>
    </p:titleStyle>
    <p:bodyStyle>
      <a:lvl1pPr marL="172658" indent="-172658" algn="l" defTabSz="871919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348191" indent="-174098" algn="l" defTabSz="871919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2pPr>
      <a:lvl3pPr marL="526605" indent="-176978" algn="l" defTabSz="871919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</a:defRPr>
      </a:lvl3pPr>
      <a:lvl4pPr marL="722279" indent="-194242" algn="l" defTabSz="871919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935227" indent="-211506" algn="l" defTabSz="871919" rtl="0" eaLnBrk="0" fontAlgn="base" latinLnBrk="1" hangingPunct="0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5pPr>
      <a:lvl6pPr marL="1349603" indent="-211506" algn="l" defTabSz="871919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1763979" indent="-211506" algn="l" defTabSz="871919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2178357" indent="-211506" algn="l" defTabSz="871919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2592735" indent="-211506" algn="l" defTabSz="871919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377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8754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131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7510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1885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6261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0640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5016" algn="l" defTabSz="828754" rtl="0" eaLnBrk="1" latinLnBrk="1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1813" y="360363"/>
            <a:ext cx="8799512" cy="28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/>
              <a:t>Click to edit Master title style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1813" y="1711325"/>
            <a:ext cx="8799512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dirty="0"/>
              <a:t>Normal Text</a:t>
            </a:r>
          </a:p>
          <a:p>
            <a:pPr lvl="0"/>
            <a:endParaRPr lang="en-US" altLang="ko-KR" dirty="0"/>
          </a:p>
          <a:p>
            <a:pPr lvl="1"/>
            <a:r>
              <a:rPr lang="en-US" altLang="ko-KR" dirty="0"/>
              <a:t>First level</a:t>
            </a:r>
          </a:p>
          <a:p>
            <a:pPr lvl="2"/>
            <a:r>
              <a:rPr lang="en-US" altLang="ko-KR" dirty="0"/>
              <a:t>Second level</a:t>
            </a:r>
          </a:p>
          <a:p>
            <a:pPr lvl="3"/>
            <a:r>
              <a:rPr lang="en-US" altLang="ko-KR" dirty="0"/>
              <a:t>Third level</a:t>
            </a:r>
          </a:p>
          <a:p>
            <a:pPr lvl="4"/>
            <a:r>
              <a:rPr lang="en-US" altLang="ko-KR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15392" y="6597352"/>
            <a:ext cx="20637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defRPr sz="800">
                <a:solidFill>
                  <a:srgbClr val="333333"/>
                </a:solidFill>
              </a:defRPr>
            </a:lvl1pPr>
          </a:lstStyle>
          <a:p>
            <a:pPr defTabSz="914400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E3012731-3E7F-4789-9711-D864DDFE9EC4}" type="slidenum">
              <a:rPr lang="ko-KR" altLang="en-US" smtClean="0"/>
              <a:pPr defTabSz="914400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531813" y="777875"/>
            <a:ext cx="917575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defTabSz="91440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grpSp>
        <p:nvGrpSpPr>
          <p:cNvPr id="16390" name="Group 14"/>
          <p:cNvGrpSpPr>
            <a:grpSpLocks/>
          </p:cNvGrpSpPr>
          <p:nvPr/>
        </p:nvGrpSpPr>
        <p:grpSpPr bwMode="auto">
          <a:xfrm>
            <a:off x="9577388" y="7938"/>
            <a:ext cx="328612" cy="1109662"/>
            <a:chOff x="6033" y="5"/>
            <a:chExt cx="207" cy="699"/>
          </a:xfrm>
        </p:grpSpPr>
        <p:sp>
          <p:nvSpPr>
            <p:cNvPr id="1039" name="Freeform 15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defTabSz="91440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40" name="Freeform 16"/>
            <p:cNvSpPr>
              <a:spLocks/>
            </p:cNvSpPr>
            <p:nvPr userDrawn="1"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defTabSz="91440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2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6" name="그림 15" descr="DICC_DSIC_fullname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17986" y="6417376"/>
            <a:ext cx="289079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46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9pPr>
    </p:titleStyle>
    <p:bodyStyle>
      <a:lvl1pPr marL="342900" indent="-342900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04775" indent="-103188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2pPr>
      <a:lvl3pPr marL="209550" indent="-103188" algn="l" defTabSz="936625" rtl="0" eaLnBrk="0" fontAlgn="base" hangingPunct="0">
        <a:spcBef>
          <a:spcPct val="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3pPr>
      <a:lvl4pPr marL="314325" indent="-103188" algn="l" defTabSz="936625" rtl="0" eaLnBrk="0" fontAlgn="base" hangingPunct="0">
        <a:spcBef>
          <a:spcPct val="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  <a:ea typeface="+mn-ea"/>
        </a:defRPr>
      </a:lvl4pPr>
      <a:lvl5pPr marL="4206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8778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2949" y="333376"/>
            <a:ext cx="8605212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948" y="800100"/>
            <a:ext cx="9161104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/>
              <a:t>Normal Text</a:t>
            </a:r>
          </a:p>
          <a:p>
            <a:pPr lvl="0"/>
            <a:endParaRPr lang="en-US" altLang="ko-KR"/>
          </a:p>
          <a:p>
            <a:pPr lvl="1"/>
            <a:r>
              <a:rPr lang="en-US" altLang="ko-KR"/>
              <a:t>First level</a:t>
            </a:r>
          </a:p>
          <a:p>
            <a:pPr lvl="2"/>
            <a:r>
              <a:rPr lang="en-US" altLang="ko-KR"/>
              <a:t>Second level</a:t>
            </a:r>
          </a:p>
          <a:p>
            <a:pPr lvl="3"/>
            <a:r>
              <a:rPr lang="en-US" altLang="ko-KR"/>
              <a:t>Third level</a:t>
            </a:r>
          </a:p>
          <a:p>
            <a:pPr lvl="4"/>
            <a:r>
              <a:rPr lang="en-US" altLang="ko-KR"/>
              <a:t>Fourth level</a:t>
            </a:r>
          </a:p>
        </p:txBody>
      </p:sp>
      <p:sp>
        <p:nvSpPr>
          <p:cNvPr id="2089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66306" y="6532563"/>
            <a:ext cx="206315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100000"/>
              </a:lnSpc>
              <a:spcAft>
                <a:spcPct val="0"/>
              </a:spcAft>
              <a:defRPr sz="1000" i="1">
                <a:solidFill>
                  <a:srgbClr val="333333"/>
                </a:solidFill>
                <a:latin typeface="Arial" charset="0"/>
              </a:defRPr>
            </a:lvl1pPr>
          </a:lstStyle>
          <a:p>
            <a:pPr defTabSz="914400" fontAlgn="base" latinLnBrk="0">
              <a:spcBef>
                <a:spcPct val="0"/>
              </a:spcBef>
              <a:defRPr/>
            </a:pPr>
            <a:r>
              <a:rPr lang="en-US" altLang="ko-KR" b="1"/>
              <a:t>- </a:t>
            </a:r>
            <a:fld id="{AFB76428-ACC9-4C9C-B5AC-C857DF2E658D}" type="slidenum">
              <a:rPr lang="en-US" altLang="ko-KR" b="1"/>
              <a:pPr defTabSz="914400" fontAlgn="base" latinLnBrk="0">
                <a:spcBef>
                  <a:spcPct val="0"/>
                </a:spcBef>
                <a:defRPr/>
              </a:pPr>
              <a:t>‹#›</a:t>
            </a:fld>
            <a:r>
              <a:rPr lang="en-US" altLang="ko-KR" b="1"/>
              <a:t> -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390713" y="692150"/>
            <a:ext cx="931993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defTabSz="914400" fontAlgn="base" latinLnBrk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</a:pPr>
            <a:endParaRPr lang="ko-KR" altLang="en-US" sz="1200" b="1">
              <a:solidFill>
                <a:srgbClr val="000000"/>
              </a:solidFill>
            </a:endParaRPr>
          </a:p>
        </p:txBody>
      </p:sp>
      <p:grpSp>
        <p:nvGrpSpPr>
          <p:cNvPr id="1030" name="Group 6"/>
          <p:cNvGrpSpPr>
            <a:grpSpLocks/>
          </p:cNvGrpSpPr>
          <p:nvPr/>
        </p:nvGrpSpPr>
        <p:grpSpPr bwMode="auto">
          <a:xfrm>
            <a:off x="9577229" y="-25400"/>
            <a:ext cx="328771" cy="1109663"/>
            <a:chOff x="6033" y="5"/>
            <a:chExt cx="207" cy="699"/>
          </a:xfrm>
        </p:grpSpPr>
        <p:sp>
          <p:nvSpPr>
            <p:cNvPr id="1033" name="Freeform 7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>
                <a:gd name="T0" fmla="*/ 0 w 661"/>
                <a:gd name="T1" fmla="*/ 0 h 2245"/>
                <a:gd name="T2" fmla="*/ 0 w 661"/>
                <a:gd name="T3" fmla="*/ 0 h 2245"/>
                <a:gd name="T4" fmla="*/ 0 w 661"/>
                <a:gd name="T5" fmla="*/ 0 h 224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 cmpd="sng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034" name="Freeform 8"/>
            <p:cNvSpPr>
              <a:spLocks/>
            </p:cNvSpPr>
            <p:nvPr userDrawn="1"/>
          </p:nvSpPr>
          <p:spPr bwMode="auto">
            <a:xfrm>
              <a:off x="6048" y="43"/>
              <a:ext cx="192" cy="651"/>
            </a:xfrm>
            <a:custGeom>
              <a:avLst/>
              <a:gdLst>
                <a:gd name="T0" fmla="*/ 0 w 661"/>
                <a:gd name="T1" fmla="*/ 0 h 2245"/>
                <a:gd name="T2" fmla="*/ 0 w 661"/>
                <a:gd name="T3" fmla="*/ 0 h 2245"/>
                <a:gd name="T4" fmla="*/ 0 w 661"/>
                <a:gd name="T5" fmla="*/ 0 h 224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 cmpd="sng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 latinLnBrk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</a:pPr>
              <a:endParaRPr lang="ko-KR" altLang="en-US" sz="1200" b="1">
                <a:solidFill>
                  <a:srgbClr val="000000"/>
                </a:solidFill>
              </a:endParaRPr>
            </a:p>
          </p:txBody>
        </p:sp>
      </p:grpSp>
      <p:pic>
        <p:nvPicPr>
          <p:cNvPr id="1031" name="그림 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4" t="7867" r="81956" b="79149"/>
          <a:stretch>
            <a:fillRect/>
          </a:stretch>
        </p:blipFill>
        <p:spPr bwMode="auto">
          <a:xfrm>
            <a:off x="270005" y="6357938"/>
            <a:ext cx="995842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그림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3" t="26262" r="68420" b="65535"/>
          <a:stretch>
            <a:fillRect/>
          </a:stretch>
        </p:blipFill>
        <p:spPr bwMode="auto">
          <a:xfrm>
            <a:off x="1111785" y="6432550"/>
            <a:ext cx="2476103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9172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900" b="1">
          <a:solidFill>
            <a:srgbClr val="000000"/>
          </a:solidFill>
          <a:latin typeface="Arial" charset="0"/>
          <a:ea typeface="윤고딕130" pitchFamily="18" charset="-127"/>
        </a:defRPr>
      </a:lvl9pPr>
    </p:titleStyle>
    <p:bodyStyle>
      <a:lvl1pPr marL="342900" indent="-342900" algn="l" defTabSz="936625" rtl="0" eaLnBrk="0" fontAlgn="base" latinLnBrk="1" hangingPunct="0">
        <a:spcBef>
          <a:spcPct val="0"/>
        </a:spcBef>
        <a:spcAft>
          <a:spcPct val="0"/>
        </a:spcAft>
        <a:buChar char="•"/>
        <a:defRPr kumimoji="1" sz="1400" b="1">
          <a:solidFill>
            <a:schemeClr val="tx1"/>
          </a:solidFill>
          <a:latin typeface="+mn-lt"/>
          <a:ea typeface="+mn-ea"/>
          <a:cs typeface="+mn-cs"/>
        </a:defRPr>
      </a:lvl1pPr>
      <a:lvl2pPr marL="104775" indent="-103188" algn="l" defTabSz="936625" rtl="0" eaLnBrk="0" fontAlgn="base" latinLnBrk="1" hangingPunct="0">
        <a:spcBef>
          <a:spcPct val="0"/>
        </a:spcBef>
        <a:spcAft>
          <a:spcPct val="0"/>
        </a:spcAft>
        <a:buChar char="•"/>
        <a:defRPr kumimoji="1" sz="1400" b="1">
          <a:solidFill>
            <a:schemeClr val="tx1"/>
          </a:solidFill>
          <a:latin typeface="+mn-lt"/>
          <a:ea typeface="+mn-ea"/>
        </a:defRPr>
      </a:lvl2pPr>
      <a:lvl3pPr marL="209550" indent="-103188" algn="l" defTabSz="936625" rtl="0" eaLnBrk="0" fontAlgn="base" latinLnBrk="1" hangingPunct="0">
        <a:spcBef>
          <a:spcPct val="0"/>
        </a:spcBef>
        <a:spcAft>
          <a:spcPct val="0"/>
        </a:spcAft>
        <a:buChar char="–"/>
        <a:defRPr kumimoji="1" sz="1400" b="1">
          <a:solidFill>
            <a:schemeClr val="tx1"/>
          </a:solidFill>
          <a:latin typeface="+mn-lt"/>
          <a:ea typeface="+mn-ea"/>
        </a:defRPr>
      </a:lvl3pPr>
      <a:lvl4pPr marL="314325" indent="-103188" algn="l" defTabSz="936625" rtl="0" eaLnBrk="0" fontAlgn="base" latinLnBrk="1" hangingPunct="0">
        <a:spcBef>
          <a:spcPct val="0"/>
        </a:spcBef>
        <a:spcAft>
          <a:spcPct val="0"/>
        </a:spcAft>
        <a:buChar char="·"/>
        <a:defRPr kumimoji="1" sz="1400" b="1">
          <a:solidFill>
            <a:schemeClr val="tx1"/>
          </a:solidFill>
          <a:latin typeface="+mn-lt"/>
          <a:ea typeface="+mn-ea"/>
        </a:defRPr>
      </a:lvl4pPr>
      <a:lvl5pPr marL="420688" indent="-98425" algn="l" defTabSz="936625" rtl="0" eaLnBrk="0" fontAlgn="base" latinLnBrk="1" hangingPunct="0">
        <a:spcBef>
          <a:spcPct val="0"/>
        </a:spcBef>
        <a:spcAft>
          <a:spcPct val="0"/>
        </a:spcAft>
        <a:buChar char="›"/>
        <a:defRPr kumimoji="1" sz="1400" b="1">
          <a:solidFill>
            <a:schemeClr val="tx1"/>
          </a:solidFill>
          <a:latin typeface="+mn-lt"/>
          <a:ea typeface="+mn-ea"/>
        </a:defRPr>
      </a:lvl5pPr>
      <a:lvl6pPr marL="877888" indent="-98425" algn="l" defTabSz="936625" rtl="0" fontAlgn="base" latinLnBrk="1">
        <a:spcBef>
          <a:spcPct val="0"/>
        </a:spcBef>
        <a:spcAft>
          <a:spcPct val="0"/>
        </a:spcAft>
        <a:buChar char="›"/>
        <a:defRPr kumimoji="1" sz="1400" b="1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fontAlgn="base" latinLnBrk="1">
        <a:spcBef>
          <a:spcPct val="0"/>
        </a:spcBef>
        <a:spcAft>
          <a:spcPct val="0"/>
        </a:spcAft>
        <a:buChar char="›"/>
        <a:defRPr kumimoji="1" sz="1400" b="1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fontAlgn="base" latinLnBrk="1">
        <a:spcBef>
          <a:spcPct val="0"/>
        </a:spcBef>
        <a:spcAft>
          <a:spcPct val="0"/>
        </a:spcAft>
        <a:buChar char="›"/>
        <a:defRPr kumimoji="1" sz="1400" b="1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fontAlgn="base" latinLnBrk="1">
        <a:spcBef>
          <a:spcPct val="0"/>
        </a:spcBef>
        <a:spcAft>
          <a:spcPct val="0"/>
        </a:spcAft>
        <a:buChar char="›"/>
        <a:defRPr kumimoji="1" sz="14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v.youku.com/v_show/id_XMjc2NDY2MzQw.htm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v.youku.com/v_show/id_XMjc2NDY2MzQw.html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v.youku.com/v_show/id_XMjc2NDY2MzQw.html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91075" y="4937881"/>
            <a:ext cx="31418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>
                <a:solidFill>
                  <a:srgbClr val="0083CD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014. 01. 20</a:t>
            </a:r>
          </a:p>
        </p:txBody>
      </p:sp>
      <p:sp>
        <p:nvSpPr>
          <p:cNvPr id="9" name="제목 8"/>
          <p:cNvSpPr>
            <a:spLocks noGrp="1"/>
          </p:cNvSpPr>
          <p:nvPr>
            <p:ph type="ctrTitle"/>
          </p:nvPr>
        </p:nvSpPr>
        <p:spPr>
          <a:xfrm>
            <a:off x="953899" y="4077072"/>
            <a:ext cx="7366000" cy="648072"/>
          </a:xfrm>
        </p:spPr>
        <p:txBody>
          <a:bodyPr/>
          <a:lstStyle/>
          <a:p>
            <a:r>
              <a:rPr lang="en-US" altLang="ko-KR" sz="2800" dirty="0">
                <a:latin typeface="맑은 고딕" pitchFamily="50" charset="-127"/>
                <a:ea typeface="맑은 고딕" pitchFamily="50" charset="-127"/>
              </a:rPr>
              <a:t>DOOTMS </a:t>
            </a:r>
            <a:r>
              <a:rPr lang="ko-KR" altLang="en-US" sz="2800" dirty="0">
                <a:latin typeface="맑은 고딕" pitchFamily="50" charset="-127"/>
                <a:ea typeface="맑은 고딕" pitchFamily="50" charset="-127"/>
              </a:rPr>
              <a:t>상황실 운영현황</a:t>
            </a:r>
            <a:endParaRPr lang="ko-KR" altLang="en-US" sz="2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472" y="6525344"/>
            <a:ext cx="3888432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ko-KR" sz="105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ahoma" panose="020B0604030504040204" pitchFamily="34" charset="0"/>
              </a:rPr>
              <a:t>DOOSAN </a:t>
            </a:r>
            <a:r>
              <a:rPr lang="en-US" altLang="ko-KR" sz="1050" dirty="0" err="1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ahoma" panose="020B0604030504040204" pitchFamily="34" charset="0"/>
              </a:rPr>
              <a:t>Infracore</a:t>
            </a:r>
            <a:r>
              <a:rPr lang="en-US" altLang="ko-KR" sz="105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ahoma" panose="020B0604030504040204" pitchFamily="34" charset="0"/>
              </a:rPr>
              <a:t> China TMS Tea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428868"/>
            <a:ext cx="9906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6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OD</a:t>
            </a:r>
            <a:endParaRPr lang="ko-KR" altLang="en-US" sz="6000" b="1" dirty="0">
              <a:latin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5171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모서리가 둥근 직사각형 16"/>
          <p:cNvSpPr/>
          <p:nvPr/>
        </p:nvSpPr>
        <p:spPr bwMode="auto">
          <a:xfrm>
            <a:off x="344488" y="2564904"/>
            <a:ext cx="9217024" cy="3528392"/>
          </a:xfrm>
          <a:prstGeom prst="roundRect">
            <a:avLst>
              <a:gd name="adj" fmla="val 332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endParaRPr lang="ko-KR" altLang="en-US" sz="14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pPr defTabSz="914400" latinLnBrk="0"/>
              <a:t>2</a:t>
            </a:fld>
            <a:endParaRPr lang="en-US" altLang="ko-KR" sz="900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32519" y="1209526"/>
            <a:ext cx="86988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DICC </a:t>
            </a:r>
            <a:r>
              <a:rPr lang="ko-KR" altLang="en-US" dirty="0" err="1">
                <a:latin typeface="맑은 고딕" pitchFamily="50" charset="-127"/>
                <a:ea typeface="맑은 고딕" pitchFamily="50" charset="-127"/>
              </a:rPr>
              <a:t>콜센터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 내에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 2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대의 대형 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TV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설치하여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 TMS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시스템에서 관리 중인 판매장비의 가동현황과 주요 관리 항목을 실시간으로 모니터링 합니다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제목 1"/>
          <p:cNvSpPr txBox="1">
            <a:spLocks/>
          </p:cNvSpPr>
          <p:nvPr/>
        </p:nvSpPr>
        <p:spPr bwMode="auto">
          <a:xfrm>
            <a:off x="531813" y="232048"/>
            <a:ext cx="8799512" cy="4606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2800" dirty="0">
                <a:latin typeface="맑은 고딕" pitchFamily="50" charset="-127"/>
                <a:ea typeface="맑은 고딕" pitchFamily="50" charset="-127"/>
              </a:rPr>
              <a:t>TMS </a:t>
            </a:r>
            <a:r>
              <a:rPr lang="ko-KR" altLang="en-US" sz="2800" dirty="0">
                <a:latin typeface="맑은 고딕" pitchFamily="50" charset="-127"/>
                <a:ea typeface="맑은 고딕" pitchFamily="50" charset="-127"/>
              </a:rPr>
              <a:t>상황실 운영</a:t>
            </a:r>
            <a:endParaRPr lang="en-US" altLang="zh-CN" sz="24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512" y="3078501"/>
            <a:ext cx="2769597" cy="2077198"/>
          </a:xfrm>
          <a:prstGeom prst="rect">
            <a:avLst/>
          </a:prstGeom>
          <a:effectLst>
            <a:outerShdw blurRad="292100" dist="139700" dir="54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848" y="3078500"/>
            <a:ext cx="2769289" cy="2076967"/>
          </a:xfrm>
          <a:prstGeom prst="rect">
            <a:avLst/>
          </a:prstGeom>
          <a:effectLst>
            <a:outerShdw blurRad="292100" dist="139700" dir="5400000" algn="ctr" rotWithShape="0">
              <a:schemeClr val="tx1">
                <a:alpha val="65000"/>
              </a:schemeClr>
            </a:outerShdw>
          </a:effectLst>
        </p:spPr>
      </p:pic>
      <p:pic>
        <p:nvPicPr>
          <p:cNvPr id="8" name="TMS 상황실 운영상황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597271" y="3096028"/>
            <a:ext cx="2748217" cy="2061163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>
          <a:xfrm>
            <a:off x="1331519" y="5456256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상황실 전경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6597271" y="5457416"/>
            <a:ext cx="2748217" cy="275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운영영상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238392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428868"/>
            <a:ext cx="9906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6000" b="1" dirty="0">
                <a:latin typeface="맑은 고딕" pitchFamily="50" charset="-127"/>
                <a:ea typeface="맑은 고딕" pitchFamily="50" charset="-127"/>
              </a:rPr>
              <a:t>Screen #1</a:t>
            </a:r>
          </a:p>
          <a:p>
            <a:pPr algn="ctr"/>
            <a:r>
              <a:rPr lang="en-US" altLang="ko-KR" sz="3600" b="1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3600" b="1" dirty="0">
                <a:latin typeface="맑은 고딕" pitchFamily="50" charset="-127"/>
                <a:ea typeface="맑은 고딕" pitchFamily="50" charset="-127"/>
              </a:rPr>
              <a:t>대리상 별 장비 운영현황</a:t>
            </a:r>
            <a:r>
              <a:rPr lang="en-US" altLang="ko-KR" sz="3600" b="1" dirty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3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8933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</a:rPr>
              <a:pPr defTabSz="914400" latinLnBrk="0"/>
              <a:t>4</a:t>
            </a:fld>
            <a:endParaRPr lang="en-US" altLang="ko-KR" sz="900" kern="0">
              <a:solidFill>
                <a:sysClr val="windowText" lastClr="000000"/>
              </a:solidFill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531813" y="232048"/>
            <a:ext cx="8799512" cy="4606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2800" dirty="0">
                <a:latin typeface="맑은 고딕" pitchFamily="50" charset="-127"/>
                <a:ea typeface="맑은 고딕" pitchFamily="50" charset="-127"/>
              </a:rPr>
              <a:t>화 면 소 개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– Screen #1</a:t>
            </a:r>
            <a:endParaRPr lang="en-US" altLang="zh-CN" sz="24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6669" y="2276872"/>
            <a:ext cx="6189800" cy="36004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16497" y="920477"/>
            <a:ext cx="8914828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지역별</a:t>
            </a:r>
            <a:r>
              <a:rPr lang="en-US" altLang="ko-KR" sz="16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장비가동현황</a:t>
            </a:r>
            <a:endParaRPr lang="en-US" altLang="zh-CN" sz="1600" b="1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zh-CN" sz="1050" b="1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지역별로 장비 분포 및 가동</a:t>
            </a:r>
            <a:r>
              <a:rPr lang="en-US" altLang="zh-CN" sz="14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현황 정보를 지도 상에 일기예보 형식을 통해 표시 합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7" name="설명선 2(강조선) 6"/>
          <p:cNvSpPr/>
          <p:nvPr/>
        </p:nvSpPr>
        <p:spPr bwMode="auto">
          <a:xfrm>
            <a:off x="8208912" y="2636912"/>
            <a:ext cx="1712640" cy="504056"/>
          </a:xfrm>
          <a:prstGeom prst="accentCallout2">
            <a:avLst>
              <a:gd name="adj1" fmla="val 48380"/>
              <a:gd name="adj2" fmla="val -5485"/>
              <a:gd name="adj3" fmla="val 51403"/>
              <a:gd name="adj4" fmla="val -29206"/>
              <a:gd name="adj5" fmla="val 88917"/>
              <a:gd name="adj6" fmla="val -41546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latin typeface="맑은 고딕" pitchFamily="50" charset="-127"/>
                <a:ea typeface="맑은 고딕" pitchFamily="50" charset="-127"/>
              </a:rPr>
              <a:t>아이콘의 크기에 따라 장비밀도를 표시</a:t>
            </a:r>
            <a:endParaRPr kumimoji="1" lang="ko-KR" alt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설명선 2(강조선) 25"/>
          <p:cNvSpPr/>
          <p:nvPr/>
        </p:nvSpPr>
        <p:spPr bwMode="auto">
          <a:xfrm>
            <a:off x="8193360" y="4221088"/>
            <a:ext cx="1712640" cy="648072"/>
          </a:xfrm>
          <a:prstGeom prst="accentCallout2">
            <a:avLst>
              <a:gd name="adj1" fmla="val 48380"/>
              <a:gd name="adj2" fmla="val -5485"/>
              <a:gd name="adj3" fmla="val 51403"/>
              <a:gd name="adj4" fmla="val -29206"/>
              <a:gd name="adj5" fmla="val 88917"/>
              <a:gd name="adj6" fmla="val -41546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해당 지역의 평균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가동률을 날씨에 비유하여 표시</a:t>
            </a:r>
          </a:p>
        </p:txBody>
      </p:sp>
      <p:sp>
        <p:nvSpPr>
          <p:cNvPr id="27" name="설명선 2(강조선) 26"/>
          <p:cNvSpPr/>
          <p:nvPr/>
        </p:nvSpPr>
        <p:spPr bwMode="auto">
          <a:xfrm>
            <a:off x="56456" y="2996952"/>
            <a:ext cx="1640632" cy="504056"/>
          </a:xfrm>
          <a:prstGeom prst="accentCallout2">
            <a:avLst>
              <a:gd name="adj1" fmla="val 46767"/>
              <a:gd name="adj2" fmla="val 102638"/>
              <a:gd name="adj3" fmla="val 46028"/>
              <a:gd name="adj4" fmla="val 115218"/>
              <a:gd name="adj5" fmla="val 71448"/>
              <a:gd name="adj6" fmla="val 121470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전월 대비 전국 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평균 가동률을 비교</a:t>
            </a:r>
          </a:p>
        </p:txBody>
      </p:sp>
      <p:sp>
        <p:nvSpPr>
          <p:cNvPr id="28" name="설명선 2(강조선) 27"/>
          <p:cNvSpPr/>
          <p:nvPr/>
        </p:nvSpPr>
        <p:spPr bwMode="auto">
          <a:xfrm>
            <a:off x="56456" y="4221088"/>
            <a:ext cx="1640632" cy="648072"/>
          </a:xfrm>
          <a:prstGeom prst="accentCallout2">
            <a:avLst>
              <a:gd name="adj1" fmla="val 46767"/>
              <a:gd name="adj2" fmla="val 102638"/>
              <a:gd name="adj3" fmla="val 45222"/>
              <a:gd name="adj4" fmla="val 115218"/>
              <a:gd name="adj5" fmla="val 60161"/>
              <a:gd name="adj6" fmla="val 119983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당월 평균 가동률이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가장 높은 상위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개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latin typeface="맑은 고딕" pitchFamily="50" charset="-127"/>
                <a:ea typeface="맑은 고딕" pitchFamily="50" charset="-127"/>
              </a:rPr>
              <a:t>대리상이 표시</a:t>
            </a:r>
            <a:endParaRPr kumimoji="1" lang="ko-KR" alt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1996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</a:rPr>
              <a:pPr defTabSz="914400" latinLnBrk="0"/>
              <a:t>5</a:t>
            </a:fld>
            <a:endParaRPr lang="en-US" altLang="ko-KR" sz="900" kern="0">
              <a:solidFill>
                <a:sysClr val="windowText" lastClr="000000"/>
              </a:solidFill>
            </a:endParaRP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6000" y="2278800"/>
            <a:ext cx="6188400" cy="36025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제목 1"/>
          <p:cNvSpPr txBox="1">
            <a:spLocks/>
          </p:cNvSpPr>
          <p:nvPr/>
        </p:nvSpPr>
        <p:spPr bwMode="auto">
          <a:xfrm>
            <a:off x="531813" y="232048"/>
            <a:ext cx="8799512" cy="4606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2800" dirty="0">
                <a:latin typeface="맑은 고딕" pitchFamily="50" charset="-127"/>
                <a:ea typeface="맑은 고딕" pitchFamily="50" charset="-127"/>
              </a:rPr>
              <a:t>화 면 소 개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– Screen #2</a:t>
            </a:r>
            <a:endParaRPr lang="en-US" altLang="zh-CN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6497" y="920477"/>
            <a:ext cx="8914828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zh-CN" altLang="en-US" sz="1600" b="1" dirty="0">
                <a:latin typeface="Microsoft YaHei" pitchFamily="34" charset="-122"/>
                <a:ea typeface="Microsoft YaHei" pitchFamily="34" charset="-122"/>
              </a:rPr>
              <a:t>大区</a:t>
            </a: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별 장비가동현황</a:t>
            </a:r>
            <a:endParaRPr lang="en-US" altLang="zh-CN" sz="1600" b="1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zh-CN" sz="1050" b="1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err="1">
                <a:latin typeface="Microsoft YaHei" pitchFamily="34" charset="-122"/>
                <a:ea typeface="맑은 고딕" pitchFamily="50" charset="-127"/>
              </a:rPr>
              <a:t>大区별로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장비 가동률 비교 정보와 주요 관리 항목별 대상 장비의 규모를 표시 합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8" name="설명선 2(강조선) 7"/>
          <p:cNvSpPr/>
          <p:nvPr/>
        </p:nvSpPr>
        <p:spPr bwMode="auto">
          <a:xfrm>
            <a:off x="56456" y="2708920"/>
            <a:ext cx="1640632" cy="864096"/>
          </a:xfrm>
          <a:prstGeom prst="accentCallout2">
            <a:avLst>
              <a:gd name="adj1" fmla="val 46767"/>
              <a:gd name="adj2" fmla="val 102638"/>
              <a:gd name="adj3" fmla="val 46633"/>
              <a:gd name="adj4" fmla="val 115218"/>
              <a:gd name="adj5" fmla="val 71448"/>
              <a:gd name="adj6" fmla="val 121470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latin typeface="맑은 고딕" pitchFamily="50" charset="-127"/>
                <a:ea typeface="맑은 고딕" pitchFamily="50" charset="-127"/>
              </a:rPr>
              <a:t>해당 大区의</a:t>
            </a:r>
            <a:r>
              <a:rPr kumimoji="1" lang="en-US" altLang="ko-KR" sz="1200" b="1" dirty="0"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평균가동률을 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전월과 대비하여</a:t>
            </a:r>
            <a:r>
              <a:rPr kumimoji="1" lang="en-US" altLang="ko-KR" sz="1200" b="1" dirty="0"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표시</a:t>
            </a:r>
          </a:p>
        </p:txBody>
      </p:sp>
      <p:sp>
        <p:nvSpPr>
          <p:cNvPr id="9" name="설명선 2(강조선) 8"/>
          <p:cNvSpPr/>
          <p:nvPr/>
        </p:nvSpPr>
        <p:spPr bwMode="auto">
          <a:xfrm>
            <a:off x="8208912" y="2924944"/>
            <a:ext cx="1712640" cy="504056"/>
          </a:xfrm>
          <a:prstGeom prst="accentCallout2">
            <a:avLst>
              <a:gd name="adj1" fmla="val 48380"/>
              <a:gd name="adj2" fmla="val -5485"/>
              <a:gd name="adj3" fmla="val 51403"/>
              <a:gd name="adj4" fmla="val -29206"/>
              <a:gd name="adj5" fmla="val 88917"/>
              <a:gd name="adj6" fmla="val -41546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latin typeface="맑은 고딕" pitchFamily="50" charset="-127"/>
                <a:ea typeface="맑은 고딕" pitchFamily="50" charset="-127"/>
              </a:rPr>
              <a:t>大区 소속 대리상의</a:t>
            </a:r>
            <a:endParaRPr kumimoji="1" lang="en-US" altLang="ko-KR" sz="1200" b="1" dirty="0"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평균가동률 비교</a:t>
            </a:r>
          </a:p>
        </p:txBody>
      </p:sp>
      <p:sp>
        <p:nvSpPr>
          <p:cNvPr id="10" name="설명선 2(강조선) 9"/>
          <p:cNvSpPr/>
          <p:nvPr/>
        </p:nvSpPr>
        <p:spPr bwMode="auto">
          <a:xfrm>
            <a:off x="8193360" y="4509120"/>
            <a:ext cx="1712640" cy="648072"/>
          </a:xfrm>
          <a:prstGeom prst="accentCallout2">
            <a:avLst>
              <a:gd name="adj1" fmla="val 48380"/>
              <a:gd name="adj2" fmla="val -5485"/>
              <a:gd name="adj3" fmla="val 51403"/>
              <a:gd name="adj4" fmla="val -29206"/>
              <a:gd name="adj5" fmla="val 88917"/>
              <a:gd name="adj6" fmla="val -41546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각 대리상의 </a:t>
            </a:r>
            <a:endParaRPr kumimoji="1" lang="en-US" altLang="ko-KR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주요 관리</a:t>
            </a:r>
            <a:r>
              <a:rPr kumimoji="1" lang="ko-KR" altLang="en-US" sz="1200" b="1" dirty="0">
                <a:latin typeface="맑은 고딕" pitchFamily="50" charset="-127"/>
                <a:ea typeface="맑은 고딕" pitchFamily="50" charset="-127"/>
              </a:rPr>
              <a:t>항목별</a:t>
            </a:r>
            <a:endParaRPr kumimoji="1" lang="en-US" altLang="ko-KR" sz="1200" b="1" dirty="0">
              <a:latin typeface="맑은 고딕" pitchFamily="50" charset="-127"/>
              <a:ea typeface="맑은 고딕" pitchFamily="50" charset="-127"/>
            </a:endParaRPr>
          </a:p>
          <a:p>
            <a:pPr defTabSz="1008063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itchFamily="50" charset="-127"/>
                <a:ea typeface="맑은 고딕" pitchFamily="50" charset="-127"/>
              </a:rPr>
              <a:t>대상장비 규모를 표시</a:t>
            </a:r>
          </a:p>
        </p:txBody>
      </p:sp>
    </p:spTree>
    <p:extLst>
      <p:ext uri="{BB962C8B-B14F-4D97-AF65-F5344CB8AC3E}">
        <p14:creationId xmlns:p14="http://schemas.microsoft.com/office/powerpoint/2010/main" val="4001042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428868"/>
            <a:ext cx="9906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6000" b="1" dirty="0">
                <a:latin typeface="맑은 고딕" pitchFamily="50" charset="-127"/>
                <a:ea typeface="맑은 고딕" pitchFamily="50" charset="-127"/>
              </a:rPr>
              <a:t>Screen #2</a:t>
            </a:r>
          </a:p>
          <a:p>
            <a:pPr algn="ctr"/>
            <a:r>
              <a:rPr lang="en-US" altLang="ko-KR" sz="3600" b="1" dirty="0">
                <a:latin typeface="맑은 고딕" pitchFamily="50" charset="-127"/>
                <a:ea typeface="맑은 고딕" pitchFamily="50" charset="-127"/>
              </a:rPr>
              <a:t>(TMS </a:t>
            </a:r>
            <a:r>
              <a:rPr lang="ko-KR" altLang="en-US" sz="3600" b="1" dirty="0">
                <a:latin typeface="맑은 고딕" pitchFamily="50" charset="-127"/>
                <a:ea typeface="맑은 고딕" pitchFamily="50" charset="-127"/>
              </a:rPr>
              <a:t>주요 관리지표</a:t>
            </a:r>
            <a:r>
              <a:rPr lang="en-US" altLang="ko-KR" sz="3600" b="1" dirty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3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0789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</a:rPr>
              <a:pPr defTabSz="914400" latinLnBrk="0"/>
              <a:t>7</a:t>
            </a:fld>
            <a:endParaRPr lang="en-US" altLang="ko-KR" sz="900" kern="0">
              <a:solidFill>
                <a:sysClr val="windowText" lastClr="000000"/>
              </a:solidFill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531813" y="360363"/>
            <a:ext cx="8799512" cy="28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화 면 소 개</a:t>
            </a:r>
            <a:endParaRPr lang="en-US" altLang="zh-CN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32" y="1988840"/>
            <a:ext cx="4299993" cy="2554131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2000602"/>
            <a:ext cx="4299049" cy="255424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16497" y="920477"/>
            <a:ext cx="8914828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평균가동률 분석</a:t>
            </a:r>
            <a:endParaRPr lang="en-US" altLang="zh-CN" sz="1600" b="1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zh-CN" sz="1050" b="1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TMS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관리장비의 가동률 정보를 표시 합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590007" y="4653136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평균가동률 추이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5241032" y="4653136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지역별 평균가동률 추이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10" name="직사각형 9">
            <a:hlinkClick r:id="rId4"/>
          </p:cNvPr>
          <p:cNvSpPr/>
          <p:nvPr/>
        </p:nvSpPr>
        <p:spPr>
          <a:xfrm>
            <a:off x="560512" y="5093198"/>
            <a:ext cx="4269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전체 판매 장비의 월별 평균가동률 추이는 전년 동기와</a:t>
            </a: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비교하여 조회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12" name="직사각형 11">
            <a:hlinkClick r:id="rId4"/>
          </p:cNvPr>
          <p:cNvSpPr/>
          <p:nvPr/>
        </p:nvSpPr>
        <p:spPr>
          <a:xfrm>
            <a:off x="5291959" y="5097376"/>
            <a:ext cx="42695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지역별로 판매장비의 당월 평균가동률을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전년 동기와 </a:t>
            </a: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비교하여 조회 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가동률 상위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하위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개 대리상정보를 표시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89709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</a:rPr>
              <a:pPr defTabSz="914400" latinLnBrk="0"/>
              <a:t>8</a:t>
            </a:fld>
            <a:endParaRPr lang="en-US" altLang="ko-KR" sz="900" kern="0">
              <a:solidFill>
                <a:sysClr val="windowText" lastClr="000000"/>
              </a:solidFill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531813" y="360363"/>
            <a:ext cx="8799512" cy="28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화 면 소 개</a:t>
            </a:r>
            <a:endParaRPr lang="en-US" altLang="zh-CN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600" y="1988840"/>
            <a:ext cx="4298400" cy="256250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00" y="1988840"/>
            <a:ext cx="4298400" cy="2558229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16497" y="920477"/>
            <a:ext cx="8914828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altLang="ko-KR" sz="1600" b="1" dirty="0">
                <a:latin typeface="맑은 고딕" pitchFamily="50" charset="-127"/>
                <a:ea typeface="맑은 고딕" pitchFamily="50" charset="-127"/>
              </a:rPr>
              <a:t>TMS </a:t>
            </a: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운영장비 현황</a:t>
            </a:r>
            <a:endParaRPr lang="en-US" altLang="zh-CN" sz="1600" b="1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zh-CN" sz="1050" b="1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장비의 가동률 및 접속률 현황을 표시 합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590007" y="4633208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미 가동장비 현황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5241032" y="4633208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미 접속장비 현황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10" name="직사각형 9">
            <a:hlinkClick r:id="rId4"/>
          </p:cNvPr>
          <p:cNvSpPr/>
          <p:nvPr/>
        </p:nvSpPr>
        <p:spPr>
          <a:xfrm>
            <a:off x="560512" y="5093198"/>
            <a:ext cx="4269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주간의 장비 가동률 추이를 조회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통신 연결 장비와 미 연결 장비를  구분하여 조회 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11" name="직사각형 10">
            <a:hlinkClick r:id="rId4"/>
          </p:cNvPr>
          <p:cNvSpPr/>
          <p:nvPr/>
        </p:nvSpPr>
        <p:spPr>
          <a:xfrm>
            <a:off x="5291959" y="5097376"/>
            <a:ext cx="42695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주간의 장비 접속률 추이를 조회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6876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>
            <a:spLocks noGrp="1"/>
          </p:cNvSpPr>
          <p:nvPr>
            <p:ph type="sldNum" sz="quarter" idx="4294967295"/>
          </p:nvPr>
        </p:nvSpPr>
        <p:spPr>
          <a:xfrm>
            <a:off x="3915392" y="6597352"/>
            <a:ext cx="2063750" cy="122238"/>
          </a:xfrm>
          <a:prstGeom prst="rect">
            <a:avLst/>
          </a:prstGeom>
        </p:spPr>
        <p:txBody>
          <a:bodyPr/>
          <a:lstStyle/>
          <a:p>
            <a:pPr defTabSz="914400" latinLnBrk="0"/>
            <a:fld id="{9836A740-9DF2-4ABB-933C-CD51739A746E}" type="slidenum">
              <a:rPr lang="ko-KR" altLang="en-US" sz="900" kern="0">
                <a:solidFill>
                  <a:sysClr val="windowText" lastClr="000000"/>
                </a:solidFill>
              </a:rPr>
              <a:pPr defTabSz="914400" latinLnBrk="0"/>
              <a:t>9</a:t>
            </a:fld>
            <a:endParaRPr lang="en-US" altLang="ko-KR" sz="900" kern="0">
              <a:solidFill>
                <a:sysClr val="windowText" lastClr="000000"/>
              </a:solidFill>
            </a:endParaRPr>
          </a:p>
        </p:txBody>
      </p:sp>
      <p:pic>
        <p:nvPicPr>
          <p:cNvPr id="24578" name="Picture 2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77" y="1988840"/>
            <a:ext cx="4298400" cy="25596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bg2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제목 1"/>
          <p:cNvSpPr txBox="1">
            <a:spLocks/>
          </p:cNvSpPr>
          <p:nvPr/>
        </p:nvSpPr>
        <p:spPr bwMode="auto">
          <a:xfrm>
            <a:off x="531813" y="360363"/>
            <a:ext cx="8799512" cy="28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화 면 소 개</a:t>
            </a:r>
            <a:endParaRPr lang="en-US" altLang="zh-CN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16497" y="920477"/>
            <a:ext cx="8914828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양지장비 운영 모니터링</a:t>
            </a:r>
            <a:endParaRPr lang="en-US" altLang="zh-CN" sz="1600" b="1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zh-CN" sz="1050" b="1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양지 장비의 이상운영 상황을 집계하여 표시 합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590007" y="4633208"/>
            <a:ext cx="42695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양지장비 운영 모니터링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]</a:t>
            </a:r>
          </a:p>
        </p:txBody>
      </p:sp>
      <p:sp>
        <p:nvSpPr>
          <p:cNvPr id="21" name="직사각형 20">
            <a:hlinkClick r:id="rId3"/>
          </p:cNvPr>
          <p:cNvSpPr/>
          <p:nvPr/>
        </p:nvSpPr>
        <p:spPr>
          <a:xfrm>
            <a:off x="560512" y="5093198"/>
            <a:ext cx="42695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대리상 내 양지장비의 이상 운행 현황을 조회 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171450" indent="-171450">
              <a:lnSpc>
                <a:spcPct val="200000"/>
              </a:lnSpc>
              <a:buFont typeface="Arial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15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일간의 누적 가동시간 초과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일 가동시간 초과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</a:t>
            </a:r>
          </a:p>
          <a:p>
            <a:pPr>
              <a:lnSpc>
                <a:spcPct val="200000"/>
              </a:lnSpc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관리범위 이탈 등의 이상 운행 장비의 규모를 조회합니다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45446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jHfajFM0q7YoYsADd1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90.kwnTEyTAulaB85e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Blank Presentation">
  <a:themeElements>
    <a:clrScheme name="Blank Presentation 15">
      <a:dk1>
        <a:srgbClr val="333333"/>
      </a:dk1>
      <a:lt1>
        <a:srgbClr val="FFFFFF"/>
      </a:lt1>
      <a:dk2>
        <a:srgbClr val="000000"/>
      </a:dk2>
      <a:lt2>
        <a:srgbClr val="333333"/>
      </a:lt2>
      <a:accent1>
        <a:srgbClr val="FFFFCC"/>
      </a:accent1>
      <a:accent2>
        <a:srgbClr val="CBD478"/>
      </a:accent2>
      <a:accent3>
        <a:srgbClr val="FFFFFF"/>
      </a:accent3>
      <a:accent4>
        <a:srgbClr val="2A2A2A"/>
      </a:accent4>
      <a:accent5>
        <a:srgbClr val="FFFFE2"/>
      </a:accent5>
      <a:accent6>
        <a:srgbClr val="B8C06C"/>
      </a:accent6>
      <a:hlink>
        <a:srgbClr val="669652"/>
      </a:hlink>
      <a:folHlink>
        <a:srgbClr val="00582C"/>
      </a:folHlink>
    </a:clrScheme>
    <a:fontScheme name="DICC">
      <a:majorFont>
        <a:latin typeface="윤고딕130"/>
        <a:ea typeface="윤고딕13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1008063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윤고딕130" pitchFamily="18" charset="-127"/>
            <a:ea typeface="윤고딕130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1008063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윤고딕130" pitchFamily="18" charset="-127"/>
            <a:ea typeface="윤고딕130" pitchFamily="18" charset="-127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4">
        <a:dk1>
          <a:srgbClr val="333333"/>
        </a:dk1>
        <a:lt1>
          <a:srgbClr val="FFFFFF"/>
        </a:lt1>
        <a:dk2>
          <a:srgbClr val="000000"/>
        </a:dk2>
        <a:lt2>
          <a:srgbClr val="333333"/>
        </a:lt2>
        <a:accent1>
          <a:srgbClr val="103991"/>
        </a:accent1>
        <a:accent2>
          <a:srgbClr val="FFFFCC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E7E7B9"/>
        </a:accent6>
        <a:hlink>
          <a:srgbClr val="CBD478"/>
        </a:hlink>
        <a:folHlink>
          <a:srgbClr val="00582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5">
        <a:dk1>
          <a:srgbClr val="333333"/>
        </a:dk1>
        <a:lt1>
          <a:srgbClr val="FFFFFF"/>
        </a:lt1>
        <a:dk2>
          <a:srgbClr val="000000"/>
        </a:dk2>
        <a:lt2>
          <a:srgbClr val="333333"/>
        </a:lt2>
        <a:accent1>
          <a:srgbClr val="FFFFCC"/>
        </a:accent1>
        <a:accent2>
          <a:srgbClr val="CBD478"/>
        </a:accent2>
        <a:accent3>
          <a:srgbClr val="FFFFFF"/>
        </a:accent3>
        <a:accent4>
          <a:srgbClr val="2A2A2A"/>
        </a:accent4>
        <a:accent5>
          <a:srgbClr val="FFFFE2"/>
        </a:accent5>
        <a:accent6>
          <a:srgbClr val="B8C06C"/>
        </a:accent6>
        <a:hlink>
          <a:srgbClr val="669652"/>
        </a:hlink>
        <a:folHlink>
          <a:srgbClr val="00582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efault Design">
  <a:themeElements>
    <a:clrScheme name="Default Design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DICC_VISTA">
      <a:majorFont>
        <a:latin typeface="Arial Black"/>
        <a:ea typeface="윤고딕15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</a:spPr>
      <a:bodyPr rtlCol="0" anchor="ctr">
        <a:noAutofit/>
      </a:bodyPr>
      <a:lstStyle>
        <a:defPPr algn="l"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104775" marR="0" indent="-103188" algn="r" defTabSz="936625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PT template_internal">
  <a:themeElements>
    <a:clrScheme name="2_PPT template_internal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2_PPT template_internal">
      <a:majorFont>
        <a:latin typeface="Arial"/>
        <a:ea typeface="윤고딕13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175" algn="ctr">
          <a:solidFill>
            <a:schemeClr val="tx1"/>
          </a:solidFill>
          <a:miter lim="800000"/>
          <a:headEnd/>
          <a:tailEnd/>
        </a:ln>
        <a:effectLst/>
      </a:spPr>
      <a:bodyPr wrap="square" rtlCol="0" anchor="ctr">
        <a:noAutofit/>
      </a:bodyPr>
      <a:lstStyle>
        <a:defPPr marL="171450" indent="-171450" algn="ctr" latinLnBrk="1">
          <a:lnSpc>
            <a:spcPct val="100000"/>
          </a:lnSpc>
          <a:spcAft>
            <a:spcPts val="0"/>
          </a:spcAft>
          <a:defRPr b="0" dirty="0" smtClean="0">
            <a:solidFill>
              <a:schemeClr val="tx1"/>
            </a:solidFill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177800" marR="0" indent="-177800" algn="ctr" defTabSz="873125" rtl="0" eaLnBrk="1" fontAlgn="base" latinLnBrk="0" hangingPunct="1">
          <a:lnSpc>
            <a:spcPct val="110000"/>
          </a:lnSpc>
          <a:spcBef>
            <a:spcPct val="0"/>
          </a:spcBef>
          <a:spcAft>
            <a:spcPct val="30000"/>
          </a:spcAft>
          <a:buClrTx/>
          <a:buSzTx/>
          <a:buFontTx/>
          <a:buNone/>
          <a:tabLst/>
          <a:defRPr kumimoji="0" lang="ko-KR" altLang="en-US" sz="1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2_PPT template_inter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PT template_internal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PT template_internal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19</TotalTime>
  <Words>323</Words>
  <Application>Microsoft Office PowerPoint</Application>
  <PresentationFormat>A4 Paper (210x297 mm)</PresentationFormat>
  <Paragraphs>72</Paragraphs>
  <Slides>10</Slides>
  <Notes>1</Notes>
  <HiddenSlides>0</HiddenSlides>
  <MMClips>1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Blank Presentation</vt:lpstr>
      <vt:lpstr>1_Default Design</vt:lpstr>
      <vt:lpstr>2_PPT template_internal</vt:lpstr>
      <vt:lpstr>DOOTMS 상황실 운영현황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xt Schedule</dc:title>
  <dc:creator>Hank</dc:creator>
  <cp:lastModifiedBy>WareMec</cp:lastModifiedBy>
  <cp:revision>3097</cp:revision>
  <dcterms:created xsi:type="dcterms:W3CDTF">2011-11-13T23:50:52Z</dcterms:created>
  <dcterms:modified xsi:type="dcterms:W3CDTF">2025-03-28T05:01:31Z</dcterms:modified>
</cp:coreProperties>
</file>